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83" r:id="rId4"/>
    <p:sldMasterId id="2147484220" r:id="rId5"/>
    <p:sldMasterId id="2147484247" r:id="rId6"/>
    <p:sldMasterId id="2147484300" r:id="rId7"/>
  </p:sldMasterIdLst>
  <p:notesMasterIdLst>
    <p:notesMasterId r:id="rId21"/>
  </p:notesMasterIdLst>
  <p:handoutMasterIdLst>
    <p:handoutMasterId r:id="rId22"/>
  </p:handoutMasterIdLst>
  <p:sldIdLst>
    <p:sldId id="547" r:id="rId8"/>
    <p:sldId id="555" r:id="rId9"/>
    <p:sldId id="576" r:id="rId10"/>
    <p:sldId id="559" r:id="rId11"/>
    <p:sldId id="550" r:id="rId12"/>
    <p:sldId id="560" r:id="rId13"/>
    <p:sldId id="574" r:id="rId14"/>
    <p:sldId id="575" r:id="rId15"/>
    <p:sldId id="564" r:id="rId16"/>
    <p:sldId id="566" r:id="rId17"/>
    <p:sldId id="565" r:id="rId18"/>
    <p:sldId id="569" r:id="rId19"/>
    <p:sldId id="540" r:id="rId20"/>
  </p:sldIdLst>
  <p:sldSz cx="12436475" cy="6994525"/>
  <p:notesSz cx="9144000" cy="6858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pos="3869" userDrawn="1">
          <p15:clr>
            <a:srgbClr val="C35EA4"/>
          </p15:clr>
        </p15:guide>
        <p15:guide id="5" pos="3965" userDrawn="1">
          <p15:clr>
            <a:srgbClr val="C35EA4"/>
          </p15:clr>
        </p15:guide>
        <p15:guide id="6" pos="2093" userDrawn="1">
          <p15:clr>
            <a:srgbClr val="C35EA4"/>
          </p15:clr>
        </p15:guide>
        <p15:guide id="7" pos="1997" userDrawn="1">
          <p15:clr>
            <a:srgbClr val="C35EA4"/>
          </p15:clr>
        </p15:guide>
        <p15:guide id="8" pos="5741" userDrawn="1">
          <p15:clr>
            <a:srgbClr val="C35EA4"/>
          </p15:clr>
        </p15:guide>
        <p15:guide id="9" pos="5837" userDrawn="1">
          <p15:clr>
            <a:srgbClr val="C35EA4"/>
          </p15:clr>
        </p15:guide>
        <p15:guide id="11" orient="horz" pos="2251" userDrawn="1">
          <p15:clr>
            <a:srgbClr val="C35EA4"/>
          </p15:clr>
        </p15:guide>
        <p15:guide id="13" orient="horz" pos="3499" userDrawn="1">
          <p15:clr>
            <a:srgbClr val="C35EA4"/>
          </p15:clr>
        </p15:guide>
        <p15:guide id="14" orient="horz" pos="2779" userDrawn="1">
          <p15:clr>
            <a:srgbClr val="C35EA4"/>
          </p15:clr>
        </p15:guide>
        <p15:guide id="15" orient="horz" pos="811" userDrawn="1">
          <p15:clr>
            <a:srgbClr val="A4A3A4"/>
          </p15:clr>
        </p15:guide>
        <p15:guide id="16" orient="horz" pos="763" userDrawn="1">
          <p15:clr>
            <a:srgbClr val="A4A3A4"/>
          </p15:clr>
        </p15:guide>
        <p15:guide id="17" orient="horz" pos="3451" userDrawn="1">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ichael Martinez" initials="MM" lastIdx="5" clrIdx="2">
    <p:extLst>
      <p:ext uri="{19B8F6BF-5375-455C-9EA6-DF929625EA0E}">
        <p15:presenceInfo xmlns:p15="http://schemas.microsoft.com/office/powerpoint/2012/main" userId="d0ca98eff7552279" providerId="Windows Live"/>
      </p:ext>
    </p:extLst>
  </p:cmAuthor>
  <p:cmAuthor id="3" name="Ron Sasaki" initials="RS" lastIdx="2" clrIdx="3">
    <p:extLst>
      <p:ext uri="{19B8F6BF-5375-455C-9EA6-DF929625EA0E}">
        <p15:presenceInfo xmlns:p15="http://schemas.microsoft.com/office/powerpoint/2012/main" userId="S-1-5-21-2127521184-1604012920-1887927527-29101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892D"/>
    <a:srgbClr val="8E543A"/>
    <a:srgbClr val="744530"/>
    <a:srgbClr val="DB9C94"/>
    <a:srgbClr val="ECAEA2"/>
    <a:srgbClr val="5C2D91"/>
    <a:srgbClr val="4DA1E2"/>
    <a:srgbClr val="FFAE4D"/>
    <a:srgbClr val="F60000"/>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6" d="100"/>
          <a:sy n="106" d="100"/>
        </p:scale>
        <p:origin x="240" y="96"/>
      </p:cViewPr>
      <p:guideLst>
        <p:guide pos="3869"/>
        <p:guide pos="3965"/>
        <p:guide pos="2093"/>
        <p:guide pos="1997"/>
        <p:guide pos="5741"/>
        <p:guide pos="5837"/>
        <p:guide orient="horz" pos="2251"/>
        <p:guide orient="horz" pos="3499"/>
        <p:guide orient="horz" pos="2779"/>
        <p:guide orient="horz" pos="811"/>
        <p:guide orient="horz" pos="763"/>
        <p:guide orient="horz" pos="3451"/>
      </p:guideLst>
    </p:cSldViewPr>
  </p:slideViewPr>
  <p:notesTextViewPr>
    <p:cViewPr>
      <p:scale>
        <a:sx n="1" d="1"/>
        <a:sy n="1" d="1"/>
      </p:scale>
      <p:origin x="0" y="0"/>
    </p:cViewPr>
  </p:notesTextViewPr>
  <p:notesViewPr>
    <p:cSldViewPr snapToGrid="0">
      <p:cViewPr>
        <p:scale>
          <a:sx n="1" d="2"/>
          <a:sy n="1" d="2"/>
        </p:scale>
        <p:origin x="0" y="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rek Tellin (Neal Analytics LLC)" userId="639ebb88-8477-4061-aae4-20c81c1b937b" providerId="ADAL" clId="{2BB5BA2E-F5A1-4C09-9023-B0FFD1A2C084}"/>
    <pc:docChg chg="modSld">
      <pc:chgData name="Derek Tellin (Neal Analytics LLC)" userId="639ebb88-8477-4061-aae4-20c81c1b937b" providerId="ADAL" clId="{2BB5BA2E-F5A1-4C09-9023-B0FFD1A2C084}" dt="2018-11-13T00:29:59.706" v="3" actId="20577"/>
      <pc:docMkLst>
        <pc:docMk/>
      </pc:docMkLst>
      <pc:sldChg chg="modSp">
        <pc:chgData name="Derek Tellin (Neal Analytics LLC)" userId="639ebb88-8477-4061-aae4-20c81c1b937b" providerId="ADAL" clId="{2BB5BA2E-F5A1-4C09-9023-B0FFD1A2C084}" dt="2018-11-13T00:29:59.706" v="3" actId="20577"/>
        <pc:sldMkLst>
          <pc:docMk/>
          <pc:sldMk cId="1280259793" sldId="547"/>
        </pc:sldMkLst>
        <pc:spChg chg="mod">
          <ac:chgData name="Derek Tellin (Neal Analytics LLC)" userId="639ebb88-8477-4061-aae4-20c81c1b937b" providerId="ADAL" clId="{2BB5BA2E-F5A1-4C09-9023-B0FFD1A2C084}" dt="2018-11-13T00:29:59.706" v="3" actId="20577"/>
          <ac:spMkLst>
            <pc:docMk/>
            <pc:sldMk cId="1280259793" sldId="547"/>
            <ac:spMk id="199"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5179484" y="0"/>
            <a:ext cx="3962400" cy="342900"/>
          </a:xfrm>
          <a:prstGeom prst="rect">
            <a:avLst/>
          </a:prstGeom>
        </p:spPr>
        <p:txBody>
          <a:bodyPr vert="horz" lIns="91440" tIns="45720" rIns="91440" bIns="45720" rtlCol="0"/>
          <a:lstStyle>
            <a:lvl1pPr algn="r">
              <a:defRPr sz="1200"/>
            </a:lvl1pPr>
          </a:lstStyle>
          <a:p>
            <a:fld id="{0A779215-8A50-4D76-B7EC-1823754B819E}" type="datetime1">
              <a:rPr lang="en-US" smtClean="0">
                <a:latin typeface="Segoe UI" pitchFamily="34" charset="0"/>
              </a:rPr>
              <a:t>11/12/2018</a:t>
            </a:fld>
            <a:endParaRPr lang="en-US">
              <a:latin typeface="Segoe UI" pitchFamily="34" charset="0"/>
            </a:endParaRPr>
          </a:p>
        </p:txBody>
      </p:sp>
      <p:sp>
        <p:nvSpPr>
          <p:cNvPr id="8" name="Footer Placeholder 7"/>
          <p:cNvSpPr>
            <a:spLocks noGrp="1"/>
          </p:cNvSpPr>
          <p:nvPr>
            <p:ph type="ftr" sz="quarter" idx="2"/>
          </p:nvPr>
        </p:nvSpPr>
        <p:spPr>
          <a:xfrm>
            <a:off x="0" y="6513910"/>
            <a:ext cx="7726680" cy="249326"/>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7711439" y="6513910"/>
            <a:ext cx="1430444" cy="3429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6515100"/>
            <a:ext cx="7894320" cy="266973"/>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atin typeface="Segoe UI" pitchFamily="34" charset="0"/>
              </a:defRPr>
            </a:lvl1pPr>
          </a:lstStyle>
          <a:p>
            <a:fld id="{81BCE4E3-A4C5-48E0-8DBE-28AF0B2A7021}" type="datetime1">
              <a:rPr lang="en-US" smtClean="0"/>
              <a:t>11/12/2018</a:t>
            </a:fld>
            <a:endParaRPr lang="en-US"/>
          </a:p>
        </p:txBody>
      </p:sp>
      <p:sp>
        <p:nvSpPr>
          <p:cNvPr id="12" name="Notes Placeholder 11"/>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7879079" y="6513910"/>
            <a:ext cx="1262804" cy="3429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image" Target="../media/image18.emf"/><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slideMaster" Target="../slideMasters/slideMaster4.xml"/><Relationship Id="rId5" Type="http://schemas.openxmlformats.org/officeDocument/2006/relationships/tags" Target="../tags/tag4.xml"/><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rgbClr val="002050"/>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57200" y="479426"/>
            <a:ext cx="11704638" cy="731838"/>
          </a:xfrm>
        </p:spPr>
        <p:txBody>
          <a:bodyPr/>
          <a:lstStyle>
            <a:lvl1pPr>
              <a:defRPr sz="2400">
                <a:solidFill>
                  <a:schemeClr val="tx1"/>
                </a:solidFill>
              </a:defRPr>
            </a:lvl1pPr>
          </a:lstStyle>
          <a:p>
            <a:r>
              <a:rPr lang="en-US"/>
              <a:t>Click to edit Master title style</a:t>
            </a:r>
          </a:p>
        </p:txBody>
      </p:sp>
    </p:spTree>
    <p:extLst>
      <p:ext uri="{BB962C8B-B14F-4D97-AF65-F5344CB8AC3E}">
        <p14:creationId xmlns:p14="http://schemas.microsoft.com/office/powerpoint/2010/main" val="19782760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386146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155494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82949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402993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127848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83017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9624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1396662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7765872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46744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79426"/>
            <a:ext cx="11522075" cy="731838"/>
          </a:xfrm>
        </p:spPr>
        <p:txBody>
          <a:bodyPr/>
          <a:lstStyle>
            <a:lvl1pPr>
              <a:defRPr sz="2400" spc="-50" baseline="0">
                <a:solidFill>
                  <a:schemeClr val="tx1">
                    <a:lumMod val="50000"/>
                  </a:schemeClr>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
        <p:nvSpPr>
          <p:cNvPr id="4" name="Slide Number Placeholder 13"/>
          <p:cNvSpPr txBox="1">
            <a:spLocks/>
          </p:cNvSpPr>
          <p:nvPr userDrawn="1"/>
        </p:nvSpPr>
        <p:spPr>
          <a:xfrm>
            <a:off x="447819" y="6548656"/>
            <a:ext cx="415636" cy="182880"/>
          </a:xfrm>
          <a:prstGeom prst="rect">
            <a:avLst/>
          </a:prstGeom>
        </p:spPr>
        <p:txBody>
          <a:bodyPr vert="horz" lIns="0" tIns="0" rIns="0" bIns="0" rtlCol="0" anchor="b" anchorCtr="0"/>
          <a:lstStyle>
            <a:defPPr>
              <a:defRPr lang="en-US"/>
            </a:defPPr>
            <a:lvl1pPr marL="0" algn="r" defTabSz="932742" rtl="0" eaLnBrk="1" latinLnBrk="0" hangingPunct="1">
              <a:defRPr sz="10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fld id="{6974C60E-8F8C-41D8-9BFF-6DF338C2FC78}" type="slidenum">
              <a:rPr lang="en-US" smtClean="0">
                <a:solidFill>
                  <a:schemeClr val="bg1">
                    <a:lumMod val="50000"/>
                  </a:schemeClr>
                </a:solidFill>
                <a:latin typeface="+mn-lt"/>
              </a:rPr>
              <a:pPr algn="l"/>
              <a:t>‹#›</a:t>
            </a:fld>
            <a:endParaRPr lang="en-US">
              <a:solidFill>
                <a:schemeClr val="bg1">
                  <a:lumMod val="50000"/>
                </a:schemeClr>
              </a:solidFill>
              <a:latin typeface="+mn-lt"/>
            </a:endParaRPr>
          </a:p>
        </p:txBody>
      </p:sp>
    </p:spTree>
    <p:extLst>
      <p:ext uri="{BB962C8B-B14F-4D97-AF65-F5344CB8AC3E}">
        <p14:creationId xmlns:p14="http://schemas.microsoft.com/office/powerpoint/2010/main" val="420173274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209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75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16381191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460331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3356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569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41196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72537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59231" y="493713"/>
            <a:ext cx="1449944" cy="310896"/>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spTree>
    <p:extLst>
      <p:ext uri="{BB962C8B-B14F-4D97-AF65-F5344CB8AC3E}">
        <p14:creationId xmlns:p14="http://schemas.microsoft.com/office/powerpoint/2010/main" val="380590758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36945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chemeClr val="tx1">
                    <a:lumMod val="50000"/>
                  </a:schemeClr>
                </a:solidFill>
              </a:defRPr>
            </a:lvl1pPr>
          </a:lstStyle>
          <a:p>
            <a:r>
              <a:rPr lang="en-US"/>
              <a:t>Click to edit Master title style</a:t>
            </a:r>
          </a:p>
        </p:txBody>
      </p:sp>
      <p:sp>
        <p:nvSpPr>
          <p:cNvPr id="4" name="Slide Number Placeholder 13"/>
          <p:cNvSpPr txBox="1">
            <a:spLocks/>
          </p:cNvSpPr>
          <p:nvPr userDrawn="1"/>
        </p:nvSpPr>
        <p:spPr>
          <a:xfrm>
            <a:off x="447819" y="6548656"/>
            <a:ext cx="415636" cy="182880"/>
          </a:xfrm>
          <a:prstGeom prst="rect">
            <a:avLst/>
          </a:prstGeom>
        </p:spPr>
        <p:txBody>
          <a:bodyPr vert="horz" lIns="0" tIns="0" rIns="0" bIns="0" rtlCol="0" anchor="b" anchorCtr="0"/>
          <a:lstStyle>
            <a:defPPr>
              <a:defRPr lang="en-US"/>
            </a:defPPr>
            <a:lvl1pPr marL="0" algn="r" defTabSz="932742" rtl="0" eaLnBrk="1" latinLnBrk="0" hangingPunct="1">
              <a:defRPr sz="10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fld id="{6974C60E-8F8C-41D8-9BFF-6DF338C2FC78}" type="slidenum">
              <a:rPr lang="en-US" smtClean="0">
                <a:solidFill>
                  <a:schemeClr val="bg1">
                    <a:lumMod val="50000"/>
                  </a:schemeClr>
                </a:solidFill>
                <a:latin typeface="+mn-lt"/>
              </a:rPr>
              <a:pPr algn="l"/>
              <a:t>‹#›</a:t>
            </a:fld>
            <a:endParaRPr lang="en-US">
              <a:solidFill>
                <a:schemeClr val="bg1">
                  <a:lumMod val="50000"/>
                </a:schemeClr>
              </a:solidFill>
              <a:latin typeface="+mn-lt"/>
            </a:endParaRPr>
          </a:p>
        </p:txBody>
      </p:sp>
    </p:spTree>
    <p:extLst>
      <p:ext uri="{BB962C8B-B14F-4D97-AF65-F5344CB8AC3E}">
        <p14:creationId xmlns:p14="http://schemas.microsoft.com/office/powerpoint/2010/main" val="41329394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52345"/>
            <a:ext cx="4974590" cy="2486942"/>
          </a:xfrm>
          <a:prstGeom prst="rect">
            <a:avLst/>
          </a:prstGeom>
          <a:noFill/>
        </p:spPr>
        <p:txBody>
          <a:bodyPr lIns="182880" tIns="91440" rIns="91440" bIns="91440">
            <a:normAutofit/>
          </a:bodyPr>
          <a:lstStyle>
            <a:lvl1pPr>
              <a:defRPr sz="4352" baseline="0">
                <a:solidFill>
                  <a:schemeClr val="bg1"/>
                </a:solidFill>
                <a:latin typeface="+mj-lt"/>
              </a:defRPr>
            </a:lvl1pPr>
          </a:lstStyle>
          <a:p>
            <a:pPr lvl="0"/>
            <a:r>
              <a:rPr lang="en-US"/>
              <a:t>Click to edit Master title style</a:t>
            </a:r>
          </a:p>
        </p:txBody>
      </p:sp>
      <p:sp>
        <p:nvSpPr>
          <p:cNvPr id="6" name="Text Placeholder 6"/>
          <p:cNvSpPr>
            <a:spLocks noGrp="1"/>
          </p:cNvSpPr>
          <p:nvPr>
            <p:ph type="body" sz="quarter" idx="10" hasCustomPrompt="1"/>
          </p:nvPr>
        </p:nvSpPr>
        <p:spPr>
          <a:xfrm>
            <a:off x="215973" y="3842194"/>
            <a:ext cx="3316393" cy="301347"/>
          </a:xfrm>
        </p:spPr>
        <p:txBody>
          <a:bodyPr/>
          <a:lstStyle>
            <a:lvl1pPr marL="37303" indent="0">
              <a:lnSpc>
                <a:spcPct val="90000"/>
              </a:lnSpc>
              <a:spcBef>
                <a:spcPts val="522"/>
              </a:spcBef>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7275" y="3321690"/>
            <a:ext cx="3316393" cy="334765"/>
          </a:xfrm>
        </p:spPr>
        <p:txBody>
          <a:bodyPr/>
          <a:lstStyle>
            <a:lvl1pPr marL="37303" indent="0">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date</a:t>
            </a:r>
          </a:p>
        </p:txBody>
      </p:sp>
      <p:pic>
        <p:nvPicPr>
          <p:cNvPr id="7" name="Picture Placeholder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Tree>
    <p:extLst>
      <p:ext uri="{BB962C8B-B14F-4D97-AF65-F5344CB8AC3E}">
        <p14:creationId xmlns:p14="http://schemas.microsoft.com/office/powerpoint/2010/main" val="81832327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52345"/>
            <a:ext cx="4974590" cy="2486942"/>
          </a:xfrm>
          <a:prstGeom prst="rect">
            <a:avLst/>
          </a:prstGeom>
          <a:noFill/>
        </p:spPr>
        <p:txBody>
          <a:bodyPr lIns="182880" tIns="91440" rIns="91440" bIns="91440">
            <a:normAutofit/>
          </a:bodyPr>
          <a:lstStyle>
            <a:lvl1pPr>
              <a:defRPr lang="en-US" sz="4352" dirty="0" smtClean="0">
                <a:solidFill>
                  <a:schemeClr val="bg1"/>
                </a:solidFill>
              </a:defRPr>
            </a:lvl1pPr>
          </a:lstStyle>
          <a:p>
            <a:pPr lvl="0"/>
            <a:r>
              <a:rPr lang="en-US"/>
              <a:t>Click to edit Master title style</a:t>
            </a:r>
          </a:p>
        </p:txBody>
      </p:sp>
      <p:sp>
        <p:nvSpPr>
          <p:cNvPr id="6" name="Text Placeholder 6"/>
          <p:cNvSpPr>
            <a:spLocks noGrp="1"/>
          </p:cNvSpPr>
          <p:nvPr>
            <p:ph type="body" sz="quarter" idx="10" hasCustomPrompt="1"/>
          </p:nvPr>
        </p:nvSpPr>
        <p:spPr>
          <a:xfrm>
            <a:off x="215973" y="3842194"/>
            <a:ext cx="3316393" cy="301347"/>
          </a:xfrm>
        </p:spPr>
        <p:txBody>
          <a:bodyPr/>
          <a:lstStyle>
            <a:lvl1pPr marL="37303" indent="0">
              <a:lnSpc>
                <a:spcPct val="90000"/>
              </a:lnSpc>
              <a:spcBef>
                <a:spcPts val="522"/>
              </a:spcBef>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7275" y="3321690"/>
            <a:ext cx="3316393" cy="334765"/>
          </a:xfrm>
        </p:spPr>
        <p:txBody>
          <a:bodyPr/>
          <a:lstStyle>
            <a:lvl1pPr marL="37303" indent="0">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date</a:t>
            </a:r>
          </a:p>
        </p:txBody>
      </p:sp>
      <p:pic>
        <p:nvPicPr>
          <p:cNvPr id="9" name="Picture 8"/>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15972" y="152931"/>
            <a:ext cx="1243648" cy="265101"/>
          </a:xfrm>
          <a:prstGeom prst="rect">
            <a:avLst/>
          </a:prstGeom>
          <a:noFill/>
        </p:spPr>
      </p:pic>
    </p:spTree>
    <p:extLst>
      <p:ext uri="{BB962C8B-B14F-4D97-AF65-F5344CB8AC3E}">
        <p14:creationId xmlns:p14="http://schemas.microsoft.com/office/powerpoint/2010/main" val="409058967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Slide 1">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2"/>
            <a:ext cx="4974590" cy="4972845"/>
          </a:xfrm>
          <a:solidFill>
            <a:srgbClr val="1A3762"/>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00000"/>
              </a:lnSpc>
              <a:buFont typeface="Arial" pitchFamily="34" charset="0"/>
              <a:buChar char="•"/>
              <a:defRPr sz="2720">
                <a:solidFill>
                  <a:schemeClr val="bg1"/>
                </a:solidFill>
              </a:defRPr>
            </a:lvl2pPr>
            <a:lvl3pPr marL="1398860" indent="-310857">
              <a:lnSpc>
                <a:spcPct val="100000"/>
              </a:lnSpc>
              <a:buFont typeface="Arial" pitchFamily="34" charset="0"/>
              <a:buChar char="•"/>
              <a:defRPr sz="2720">
                <a:solidFill>
                  <a:schemeClr val="bg1"/>
                </a:solidFill>
              </a:defRPr>
            </a:lvl3pPr>
            <a:lvl4pPr marL="1865146" indent="-310857">
              <a:lnSpc>
                <a:spcPct val="100000"/>
              </a:lnSpc>
              <a:buFont typeface="Arial" pitchFamily="34" charset="0"/>
              <a:buChar char="•"/>
              <a:defRPr sz="2720">
                <a:solidFill>
                  <a:schemeClr val="bg1"/>
                </a:solidFill>
              </a:defRPr>
            </a:lvl4pPr>
            <a:lvl5pPr marL="2331433" indent="-310857">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7604651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rgbClr val="002050"/>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2"/>
            <a:ext cx="4974590" cy="4972845"/>
          </a:xfrm>
          <a:solidFill>
            <a:srgbClr val="15AEEF">
              <a:alpha val="89804"/>
            </a:srgbClr>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20000"/>
              </a:lnSpc>
              <a:buFont typeface="Arial" pitchFamily="34" charset="0"/>
              <a:buChar char="•"/>
              <a:defRPr sz="2720">
                <a:solidFill>
                  <a:schemeClr val="bg1"/>
                </a:solidFill>
              </a:defRPr>
            </a:lvl2pPr>
            <a:lvl3pPr marL="1398860" indent="-310857">
              <a:lnSpc>
                <a:spcPct val="120000"/>
              </a:lnSpc>
              <a:buFont typeface="Arial" pitchFamily="34" charset="0"/>
              <a:buChar char="•"/>
              <a:defRPr sz="2720">
                <a:solidFill>
                  <a:schemeClr val="bg1"/>
                </a:solidFill>
              </a:defRPr>
            </a:lvl3pPr>
            <a:lvl4pPr marL="1865146" indent="-310857">
              <a:lnSpc>
                <a:spcPct val="120000"/>
              </a:lnSpc>
              <a:buFont typeface="Arial" pitchFamily="34" charset="0"/>
              <a:buChar char="•"/>
              <a:defRPr sz="2720">
                <a:solidFill>
                  <a:schemeClr val="bg1"/>
                </a:solidFill>
              </a:defRPr>
            </a:lvl4pPr>
            <a:lvl5pPr marL="2331433" indent="-310857">
              <a:lnSpc>
                <a:spcPct val="12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j-lt"/>
              </a:defRPr>
            </a:lvl1pPr>
          </a:lstStyle>
          <a:p>
            <a:pPr lvl="0"/>
            <a:r>
              <a:rPr lang="en-US"/>
              <a:t>Click to edit Master title style</a:t>
            </a:r>
          </a:p>
        </p:txBody>
      </p:sp>
    </p:spTree>
    <p:extLst>
      <p:ext uri="{BB962C8B-B14F-4D97-AF65-F5344CB8AC3E}">
        <p14:creationId xmlns:p14="http://schemas.microsoft.com/office/powerpoint/2010/main" val="188639380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uidance Text Slide">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2487295" y="1243471"/>
            <a:ext cx="9327356" cy="4973884"/>
          </a:xfrm>
          <a:solidFill>
            <a:srgbClr val="EAEAEA"/>
          </a:solidFill>
        </p:spPr>
        <p:txBody>
          <a:bodyPr lIns="182880" tIns="91440" rIns="91440" bIns="91440">
            <a:normAutofit/>
          </a:bodyPr>
          <a:lstStyle>
            <a:lvl1pPr marL="310857" indent="-310857">
              <a:lnSpc>
                <a:spcPct val="100000"/>
              </a:lnSpc>
              <a:buFont typeface="Arial" pitchFamily="34" charset="0"/>
              <a:buChar char="•"/>
              <a:defRPr>
                <a:solidFill>
                  <a:srgbClr val="FF0066"/>
                </a:solidFill>
              </a:defRPr>
            </a:lvl1pPr>
            <a:lvl2pPr marL="621716" indent="-310857">
              <a:lnSpc>
                <a:spcPct val="100000"/>
              </a:lnSpc>
              <a:buFont typeface="Arial" pitchFamily="34" charset="0"/>
              <a:buChar char="•"/>
              <a:defRPr>
                <a:solidFill>
                  <a:srgbClr val="FF0066"/>
                </a:solidFill>
              </a:defRPr>
            </a:lvl2pPr>
            <a:lvl3pPr marL="932573" indent="-310857">
              <a:lnSpc>
                <a:spcPct val="100000"/>
              </a:lnSpc>
              <a:buFont typeface="Arial" pitchFamily="34" charset="0"/>
              <a:buChar char="•"/>
              <a:defRPr>
                <a:solidFill>
                  <a:srgbClr val="FF0066"/>
                </a:solidFill>
              </a:defRPr>
            </a:lvl3pPr>
            <a:lvl4pPr marL="1243431" indent="-310857">
              <a:lnSpc>
                <a:spcPct val="100000"/>
              </a:lnSpc>
              <a:buFont typeface="Arial" pitchFamily="34" charset="0"/>
              <a:buChar char="•"/>
              <a:defRPr>
                <a:solidFill>
                  <a:srgbClr val="FF0066"/>
                </a:solidFill>
              </a:defRPr>
            </a:lvl4pPr>
            <a:lvl5pPr marL="1554289" indent="-310857">
              <a:lnSpc>
                <a:spcPct val="100000"/>
              </a:lnSpc>
              <a:buFont typeface="Arial" pitchFamily="34" charset="0"/>
              <a:buChar char="•"/>
              <a:defRPr>
                <a:solidFill>
                  <a:srgbClr val="FF0066"/>
                </a:solidFill>
              </a:defRPr>
            </a:lvl5pPr>
            <a:lvl6pPr>
              <a:lnSpc>
                <a:spcPct val="100000"/>
              </a:lnSpc>
              <a:defRPr>
                <a:solidFill>
                  <a:srgbClr val="FF0066"/>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p:cNvSpPr>
            <a:spLocks noGrp="1"/>
          </p:cNvSpPr>
          <p:nvPr>
            <p:ph type="title"/>
          </p:nvPr>
        </p:nvSpPr>
        <p:spPr>
          <a:xfrm>
            <a:off x="0" y="1243471"/>
            <a:ext cx="2487295" cy="2486942"/>
          </a:xfrm>
          <a:prstGeom prst="rect">
            <a:avLst/>
          </a:prstGeom>
          <a:solidFill>
            <a:schemeClr val="bg2">
              <a:lumMod val="90000"/>
              <a:alpha val="89804"/>
            </a:schemeClr>
          </a:solidFill>
        </p:spPr>
        <p:txBody>
          <a:bodyPr lIns="182880" tIns="91440" rIns="91440" bIns="91440">
            <a:normAutofit/>
          </a:bodyPr>
          <a:lstStyle>
            <a:lvl1pPr>
              <a:defRPr sz="2720" baseline="0">
                <a:solidFill>
                  <a:srgbClr val="FF0066"/>
                </a:solidFill>
                <a:latin typeface="+mn-lt"/>
              </a:defRPr>
            </a:lvl1pPr>
          </a:lstStyle>
          <a:p>
            <a:pPr lvl="0"/>
            <a:r>
              <a:rPr lang="en-US"/>
              <a:t>Click to edit Master title style</a:t>
            </a:r>
          </a:p>
        </p:txBody>
      </p:sp>
    </p:spTree>
    <p:extLst>
      <p:ext uri="{BB962C8B-B14F-4D97-AF65-F5344CB8AC3E}">
        <p14:creationId xmlns:p14="http://schemas.microsoft.com/office/powerpoint/2010/main" val="305964595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2857093"/>
      </p:ext>
    </p:extLst>
  </p:cSld>
  <p:clrMapOvr>
    <a:masterClrMapping/>
  </p:clrMapOvr>
  <p:transition>
    <p:fade/>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436475"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621824" y="1243471"/>
            <a:ext cx="11192828"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8990612"/>
      </p:ext>
    </p:extLst>
  </p:cSld>
  <p:clrMapOvr>
    <a:masterClrMapping/>
  </p:clrMapOvr>
  <p:transition>
    <p:fade/>
  </p:transition>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5">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3018">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38618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6">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9421"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77874" y="1243471"/>
            <a:ext cx="9327356" cy="4973884"/>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3018">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961628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ransition Slide 1">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7"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solidFill>
                  <a:schemeClr val="bg1"/>
                </a:solidFill>
              </a:defRPr>
            </a:lvl1pPr>
            <a:lvl2pPr marL="621716" indent="-306540">
              <a:lnSpc>
                <a:spcPct val="100000"/>
              </a:lnSpc>
              <a:buFont typeface="Arial" pitchFamily="34" charset="0"/>
              <a:buChar char="•"/>
              <a:defRPr>
                <a:solidFill>
                  <a:schemeClr val="bg1"/>
                </a:solidFill>
              </a:defRPr>
            </a:lvl2pPr>
            <a:lvl3pPr marL="932573" indent="-310857">
              <a:lnSpc>
                <a:spcPct val="100000"/>
              </a:lnSpc>
              <a:buFont typeface="Arial" pitchFamily="34" charset="0"/>
              <a:buChar char="•"/>
              <a:defRPr>
                <a:solidFill>
                  <a:schemeClr val="bg1"/>
                </a:solidFill>
              </a:defRPr>
            </a:lvl3pPr>
            <a:lvl4pPr marL="1243431" indent="-310857">
              <a:lnSpc>
                <a:spcPct val="100000"/>
              </a:lnSpc>
              <a:buFont typeface="Arial" pitchFamily="34" charset="0"/>
              <a:buChar char="•"/>
              <a:defRPr>
                <a:solidFill>
                  <a:schemeClr val="bg1"/>
                </a:solidFill>
              </a:defRPr>
            </a:lvl4pPr>
            <a:lvl5pPr marL="1554289" indent="-310857">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30604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7419"/>
          <a:stretch/>
        </p:blipFill>
        <p:spPr>
          <a:xfrm>
            <a:off x="1926219" y="1"/>
            <a:ext cx="10510257"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0"/>
            <a:ext cx="3932238"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
        <p:nvSpPr>
          <p:cNvPr id="14" name="TextBox 13"/>
          <p:cNvSpPr txBox="1"/>
          <p:nvPr userDrawn="1"/>
        </p:nvSpPr>
        <p:spPr bwMode="white">
          <a:xfrm>
            <a:off x="479323" y="6024410"/>
            <a:ext cx="3270062" cy="747314"/>
          </a:xfrm>
          <a:prstGeom prst="rect">
            <a:avLst/>
          </a:prstGeom>
          <a:noFill/>
        </p:spPr>
        <p:txBody>
          <a:bodyPr wrap="square" lIns="0" tIns="146283" rIns="182854" bIns="146283" rtlCol="0">
            <a:spAutoFit/>
          </a:bodyPr>
          <a:lstStyle/>
          <a:p>
            <a:pPr>
              <a:lnSpc>
                <a:spcPct val="90000"/>
              </a:lnSpc>
              <a:spcAft>
                <a:spcPts val="600"/>
              </a:spcAft>
            </a:pPr>
            <a:r>
              <a:rPr lang="en-US" sz="3199">
                <a:gradFill>
                  <a:gsLst>
                    <a:gs pos="0">
                      <a:srgbClr val="FFFFFF"/>
                    </a:gs>
                    <a:gs pos="100000">
                      <a:srgbClr val="FFFFFF"/>
                    </a:gs>
                  </a:gsLst>
                  <a:lin ang="5400000" scaled="1"/>
                </a:gradFill>
                <a:latin typeface="+mj-lt"/>
              </a:rPr>
              <a:t>25–28 July 2016</a:t>
            </a:r>
          </a:p>
        </p:txBody>
      </p:sp>
      <p:pic>
        <p:nvPicPr>
          <p:cNvPr id="15" name="Picture 1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479322" y="1615963"/>
            <a:ext cx="2804166" cy="4127000"/>
          </a:xfrm>
          <a:prstGeom prst="rect">
            <a:avLst/>
          </a:prstGeom>
        </p:spPr>
      </p:pic>
    </p:spTree>
    <p:extLst>
      <p:ext uri="{BB962C8B-B14F-4D97-AF65-F5344CB8AC3E}">
        <p14:creationId xmlns:p14="http://schemas.microsoft.com/office/powerpoint/2010/main" val="2610866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ransition Slide 2">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0"/>
            <a:ext cx="6218238"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r>
              <a:rPr lang="en-US"/>
              <a:t>Click to edit Master title style</a:t>
            </a:r>
          </a:p>
        </p:txBody>
      </p:sp>
      <p:sp>
        <p:nvSpPr>
          <p:cNvPr id="7" name="Content Placeholder 2"/>
          <p:cNvSpPr>
            <a:spLocks noGrp="1"/>
          </p:cNvSpPr>
          <p:nvPr>
            <p:ph idx="1"/>
          </p:nvPr>
        </p:nvSpPr>
        <p:spPr>
          <a:xfrm>
            <a:off x="621824" y="1243471"/>
            <a:ext cx="11192828" cy="4973884"/>
          </a:xfrm>
          <a:noFill/>
        </p:spPr>
        <p:txBody>
          <a:bodyPr lIns="182880" tIns="91440" rIns="91440" bIns="91440">
            <a:normAutofit/>
          </a:bodyPr>
          <a:lstStyle>
            <a:lvl1pPr marL="310857" indent="-310857">
              <a:lnSpc>
                <a:spcPct val="100000"/>
              </a:lnSpc>
              <a:buFont typeface="Arial" pitchFamily="34" charset="0"/>
              <a:buChar char="•"/>
              <a:defRPr>
                <a:solidFill>
                  <a:schemeClr val="bg1"/>
                </a:solidFill>
              </a:defRPr>
            </a:lvl1pPr>
            <a:lvl2pPr marL="621716" indent="-306540">
              <a:lnSpc>
                <a:spcPct val="100000"/>
              </a:lnSpc>
              <a:buFont typeface="Arial" pitchFamily="34" charset="0"/>
              <a:buChar char="•"/>
              <a:defRPr>
                <a:solidFill>
                  <a:schemeClr val="bg1"/>
                </a:solidFill>
              </a:defRPr>
            </a:lvl2pPr>
            <a:lvl3pPr marL="932573" indent="-310857">
              <a:lnSpc>
                <a:spcPct val="100000"/>
              </a:lnSpc>
              <a:buFont typeface="Arial" pitchFamily="34" charset="0"/>
              <a:buChar char="•"/>
              <a:defRPr>
                <a:solidFill>
                  <a:schemeClr val="bg1"/>
                </a:solidFill>
              </a:defRPr>
            </a:lvl3pPr>
            <a:lvl4pPr marL="1243431" indent="-310857">
              <a:lnSpc>
                <a:spcPct val="100000"/>
              </a:lnSpc>
              <a:buFont typeface="Arial" pitchFamily="34" charset="0"/>
              <a:buChar char="•"/>
              <a:defRPr>
                <a:solidFill>
                  <a:schemeClr val="bg1"/>
                </a:solidFill>
              </a:defRPr>
            </a:lvl4pPr>
            <a:lvl5pPr marL="1554289" indent="-310857">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379477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1">
    <p:bg>
      <p:bgPr>
        <a:solidFill>
          <a:schemeClr val="bg1"/>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5" name="Text Placeholder 11"/>
          <p:cNvSpPr>
            <a:spLocks noGrp="1"/>
          </p:cNvSpPr>
          <p:nvPr>
            <p:ph type="body" sz="quarter" idx="13"/>
          </p:nvPr>
        </p:nvSpPr>
        <p:spPr>
          <a:xfrm>
            <a:off x="7461885" y="1243472"/>
            <a:ext cx="4974590" cy="4972845"/>
          </a:xfrm>
          <a:solidFill>
            <a:srgbClr val="0A5BBA">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7" name="Text Placeholder 11"/>
          <p:cNvSpPr>
            <a:spLocks noGrp="1"/>
          </p:cNvSpPr>
          <p:nvPr>
            <p:ph type="body" sz="quarter" idx="12" hasCustomPrompt="1"/>
          </p:nvPr>
        </p:nvSpPr>
        <p:spPr>
          <a:xfrm>
            <a:off x="2487295" y="1243472"/>
            <a:ext cx="4974590" cy="4972845"/>
          </a:xfrm>
          <a:solidFill>
            <a:srgbClr val="1A3762"/>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00000"/>
              </a:lnSpc>
              <a:buFont typeface="Arial" pitchFamily="34" charset="0"/>
              <a:buChar char="•"/>
              <a:defRPr sz="2720">
                <a:solidFill>
                  <a:schemeClr val="bg1"/>
                </a:solidFill>
              </a:defRPr>
            </a:lvl2pPr>
            <a:lvl3pPr marL="1398860" indent="-310857">
              <a:lnSpc>
                <a:spcPct val="100000"/>
              </a:lnSpc>
              <a:buFont typeface="Arial" pitchFamily="34" charset="0"/>
              <a:buChar char="•"/>
              <a:defRPr sz="2720">
                <a:solidFill>
                  <a:schemeClr val="bg1"/>
                </a:solidFill>
              </a:defRPr>
            </a:lvl3pPr>
            <a:lvl4pPr marL="1865146" indent="-310857">
              <a:lnSpc>
                <a:spcPct val="100000"/>
              </a:lnSpc>
              <a:buFont typeface="Arial" pitchFamily="34" charset="0"/>
              <a:buChar char="•"/>
              <a:defRPr sz="2720">
                <a:solidFill>
                  <a:schemeClr val="bg1"/>
                </a:solidFill>
              </a:defRPr>
            </a:lvl4pPr>
            <a:lvl5pPr marL="2331433" indent="-310857">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81073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2">
    <p:bg>
      <p:bgPr>
        <a:solidFill>
          <a:srgbClr val="1A3762"/>
        </a:solidFill>
        <a:effectLst/>
      </p:bgPr>
    </p:bg>
    <p:spTree>
      <p:nvGrpSpPr>
        <p:cNvPr id="1" name=""/>
        <p:cNvGrpSpPr/>
        <p:nvPr/>
      </p:nvGrpSpPr>
      <p:grpSpPr>
        <a:xfrm>
          <a:off x="0" y="0"/>
          <a:ext cx="0" cy="0"/>
          <a:chOff x="0" y="0"/>
          <a:chExt cx="0" cy="0"/>
        </a:xfrm>
      </p:grpSpPr>
      <p:sp>
        <p:nvSpPr>
          <p:cNvPr id="11" name="Text Placeholder 11"/>
          <p:cNvSpPr>
            <a:spLocks noGrp="1"/>
          </p:cNvSpPr>
          <p:nvPr>
            <p:ph type="body" sz="quarter" idx="12"/>
          </p:nvPr>
        </p:nvSpPr>
        <p:spPr>
          <a:xfrm>
            <a:off x="2487295" y="1243472"/>
            <a:ext cx="4974590" cy="4972845"/>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0"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5" name="Text Placeholder 11"/>
          <p:cNvSpPr>
            <a:spLocks noGrp="1"/>
          </p:cNvSpPr>
          <p:nvPr>
            <p:ph type="body" sz="quarter" idx="13"/>
          </p:nvPr>
        </p:nvSpPr>
        <p:spPr>
          <a:xfrm>
            <a:off x="7461885" y="1243472"/>
            <a:ext cx="4974590" cy="4972845"/>
          </a:xfrm>
          <a:solidFill>
            <a:srgbClr val="0A5BBA">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77630180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Slide">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3"/>
          </p:nvPr>
        </p:nvSpPr>
        <p:spPr>
          <a:xfrm>
            <a:off x="2477874" y="1243470"/>
            <a:ext cx="4875098" cy="1243471"/>
          </a:xfrm>
          <a:solidFill>
            <a:srgbClr val="15AEEF"/>
          </a:solidFill>
        </p:spPr>
        <p:txBody>
          <a:bodyPr lIns="182880" tIns="91440" rIns="91440" bIns="91440" anchor="t">
            <a:normAutofit/>
          </a:bodyPr>
          <a:lstStyle>
            <a:lvl1pPr marL="0" indent="0">
              <a:lnSpc>
                <a:spcPct val="90000"/>
              </a:lnSpc>
              <a:spcBef>
                <a:spcPts val="0"/>
              </a:spcBef>
              <a:buNone/>
              <a:defRPr sz="3399" b="0">
                <a:latin typeface="+mj-lt"/>
              </a:defRPr>
            </a:lvl1pPr>
            <a:lvl2pPr marL="621691" indent="0">
              <a:buNone/>
              <a:defRPr sz="2720" b="1"/>
            </a:lvl2pPr>
            <a:lvl3pPr marL="1243380" indent="0">
              <a:buNone/>
              <a:defRPr sz="2448" b="1"/>
            </a:lvl3pPr>
            <a:lvl4pPr marL="1865072" indent="0">
              <a:buNone/>
              <a:defRPr sz="2175" b="1"/>
            </a:lvl4pPr>
            <a:lvl5pPr marL="2486763" indent="0">
              <a:buNone/>
              <a:defRPr sz="2175" b="1"/>
            </a:lvl5pPr>
            <a:lvl6pPr marL="3108453" indent="0">
              <a:buNone/>
              <a:defRPr sz="2175" b="1"/>
            </a:lvl6pPr>
            <a:lvl7pPr marL="3730144" indent="0">
              <a:buNone/>
              <a:defRPr sz="2175" b="1"/>
            </a:lvl7pPr>
            <a:lvl8pPr marL="4351835" indent="0">
              <a:buNone/>
              <a:defRPr sz="2175" b="1"/>
            </a:lvl8pPr>
            <a:lvl9pPr marL="4973525" indent="0">
              <a:buNone/>
              <a:defRPr sz="2175" b="1"/>
            </a:lvl9pPr>
          </a:lstStyle>
          <a:p>
            <a:pPr lvl="0"/>
            <a:r>
              <a:rPr lang="en-US"/>
              <a:t>Click to edit Master text styles</a:t>
            </a:r>
          </a:p>
        </p:txBody>
      </p:sp>
      <p:sp>
        <p:nvSpPr>
          <p:cNvPr id="6" name="Content Placeholder 5"/>
          <p:cNvSpPr>
            <a:spLocks noGrp="1"/>
          </p:cNvSpPr>
          <p:nvPr>
            <p:ph sz="quarter" idx="4"/>
          </p:nvPr>
        </p:nvSpPr>
        <p:spPr>
          <a:xfrm>
            <a:off x="2477874" y="2461037"/>
            <a:ext cx="4875098" cy="3730413"/>
          </a:xfrm>
          <a:solidFill>
            <a:srgbClr val="15AEEF"/>
          </a:solidFill>
        </p:spPr>
        <p:txBody>
          <a:bodyPr wrap="square" lIns="182880" tIns="91440" rIns="91440" bIns="91440" anchor="t">
            <a:normAutofit/>
          </a:bodyPr>
          <a:lstStyle>
            <a:lvl1pPr marL="402947" indent="-402947">
              <a:defRPr sz="3128"/>
            </a:lvl1pPr>
            <a:lvl2pPr marL="775316" indent="-372368">
              <a:defRPr sz="2720"/>
            </a:lvl2pPr>
            <a:lvl3pPr marL="1117102" indent="-332792">
              <a:defRPr sz="2448"/>
            </a:lvl3pPr>
            <a:lvl4pPr marL="1428306" indent="-321999">
              <a:defRPr sz="2312"/>
            </a:lvl4pPr>
            <a:lvl5pPr marL="1739512" indent="-300413">
              <a:defRPr sz="2312"/>
            </a:lvl5pPr>
            <a:lvl6pPr>
              <a:defRPr sz="2175"/>
            </a:lvl6pPr>
            <a:lvl7pPr>
              <a:defRPr sz="2175"/>
            </a:lvl7pPr>
            <a:lvl8pPr>
              <a:defRPr sz="2175"/>
            </a:lvl8pPr>
            <a:lvl9pPr>
              <a:defRPr sz="21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9421" y="1243471"/>
            <a:ext cx="2487295" cy="2486942"/>
          </a:xfrm>
          <a:prstGeom prst="rect">
            <a:avLst/>
          </a:prstGeom>
          <a:solidFill>
            <a:srgbClr val="0A5BBA"/>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13" name="Text Placeholder 4"/>
          <p:cNvSpPr>
            <a:spLocks noGrp="1"/>
          </p:cNvSpPr>
          <p:nvPr>
            <p:ph type="body" sz="quarter" idx="12"/>
          </p:nvPr>
        </p:nvSpPr>
        <p:spPr>
          <a:xfrm>
            <a:off x="7348827" y="1243470"/>
            <a:ext cx="4875098" cy="1243471"/>
          </a:xfrm>
          <a:solidFill>
            <a:srgbClr val="0A5BBA"/>
          </a:solidFill>
        </p:spPr>
        <p:txBody>
          <a:bodyPr lIns="182880" tIns="91440" rIns="91440" bIns="91440" anchor="t">
            <a:normAutofit/>
          </a:bodyPr>
          <a:lstStyle>
            <a:lvl1pPr marL="0" indent="0">
              <a:lnSpc>
                <a:spcPct val="90000"/>
              </a:lnSpc>
              <a:spcBef>
                <a:spcPts val="0"/>
              </a:spcBef>
              <a:buNone/>
              <a:defRPr sz="3399" b="0" baseline="0">
                <a:solidFill>
                  <a:schemeClr val="bg1"/>
                </a:solidFill>
                <a:latin typeface="+mj-lt"/>
              </a:defRPr>
            </a:lvl1pPr>
            <a:lvl2pPr marL="621691" indent="0">
              <a:buNone/>
              <a:defRPr sz="2720" b="1"/>
            </a:lvl2pPr>
            <a:lvl3pPr marL="1243380" indent="0">
              <a:buNone/>
              <a:defRPr sz="2448" b="1"/>
            </a:lvl3pPr>
            <a:lvl4pPr marL="1865072" indent="0">
              <a:buNone/>
              <a:defRPr sz="2175" b="1"/>
            </a:lvl4pPr>
            <a:lvl5pPr marL="2486763" indent="0">
              <a:buNone/>
              <a:defRPr sz="2175" b="1"/>
            </a:lvl5pPr>
            <a:lvl6pPr marL="3108453" indent="0">
              <a:buNone/>
              <a:defRPr sz="2175" b="1"/>
            </a:lvl6pPr>
            <a:lvl7pPr marL="3730144" indent="0">
              <a:buNone/>
              <a:defRPr sz="2175" b="1"/>
            </a:lvl7pPr>
            <a:lvl8pPr marL="4351835" indent="0">
              <a:buNone/>
              <a:defRPr sz="2175" b="1"/>
            </a:lvl8pPr>
            <a:lvl9pPr marL="4973525" indent="0">
              <a:buNone/>
              <a:defRPr sz="2175" b="1"/>
            </a:lvl9pPr>
          </a:lstStyle>
          <a:p>
            <a:pPr lvl="0"/>
            <a:r>
              <a:rPr lang="en-US"/>
              <a:t>Click to edit Master text styles</a:t>
            </a:r>
          </a:p>
        </p:txBody>
      </p:sp>
      <p:sp>
        <p:nvSpPr>
          <p:cNvPr id="14" name="Content Placeholder 5"/>
          <p:cNvSpPr>
            <a:spLocks noGrp="1"/>
          </p:cNvSpPr>
          <p:nvPr>
            <p:ph sz="quarter" idx="13"/>
          </p:nvPr>
        </p:nvSpPr>
        <p:spPr>
          <a:xfrm>
            <a:off x="7348827" y="2461036"/>
            <a:ext cx="4875098" cy="3730413"/>
          </a:xfrm>
          <a:solidFill>
            <a:srgbClr val="0A5BBA"/>
          </a:solidFill>
        </p:spPr>
        <p:txBody>
          <a:bodyPr wrap="square" lIns="182880" tIns="91440" rIns="91440" bIns="91440" anchor="t">
            <a:normAutofit/>
          </a:bodyPr>
          <a:lstStyle>
            <a:lvl1pPr marL="402947" indent="-402947">
              <a:defRPr sz="3128">
                <a:solidFill>
                  <a:schemeClr val="bg1"/>
                </a:solidFill>
              </a:defRPr>
            </a:lvl1pPr>
            <a:lvl2pPr marL="775316" indent="-372368">
              <a:defRPr sz="2720">
                <a:solidFill>
                  <a:schemeClr val="bg1"/>
                </a:solidFill>
              </a:defRPr>
            </a:lvl2pPr>
            <a:lvl3pPr marL="1117102" indent="-332792">
              <a:defRPr sz="2448">
                <a:solidFill>
                  <a:schemeClr val="bg1"/>
                </a:solidFill>
              </a:defRPr>
            </a:lvl3pPr>
            <a:lvl4pPr marL="1428306" indent="-321999">
              <a:defRPr sz="2312">
                <a:solidFill>
                  <a:schemeClr val="bg1"/>
                </a:solidFill>
              </a:defRPr>
            </a:lvl4pPr>
            <a:lvl5pPr marL="1739512" indent="-300413">
              <a:defRPr sz="2312">
                <a:solidFill>
                  <a:schemeClr val="bg1"/>
                </a:solidFill>
              </a:defRPr>
            </a:lvl5pPr>
            <a:lvl6pPr>
              <a:defRPr sz="2175"/>
            </a:lvl6pPr>
            <a:lvl7pPr>
              <a:defRPr sz="2175"/>
            </a:lvl7pPr>
            <a:lvl8pPr>
              <a:defRPr sz="2175"/>
            </a:lvl8pPr>
            <a:lvl9pPr>
              <a:defRPr sz="21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96315935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Slide 1">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142971816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Slide 2">
    <p:bg>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319742247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Slide 1">
    <p:bg>
      <p:bgPr>
        <a:solidFill>
          <a:schemeClr val="bg1"/>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tx1"/>
                </a:solidFill>
                <a:latin typeface="+mn-lt"/>
                <a:ea typeface="+mn-ea"/>
                <a:cs typeface="+mn-cs"/>
              </a:rPr>
              <a:t>© 2015 Microsoft Corporation. All rights reserved. Microsoft, Windows,</a:t>
            </a:r>
            <a:r>
              <a:rPr lang="en-US" sz="1088" kern="1200" baseline="0">
                <a:solidFill>
                  <a:schemeClr val="tx1"/>
                </a:solidFill>
                <a:latin typeface="+mn-lt"/>
                <a:ea typeface="+mn-ea"/>
                <a:cs typeface="+mn-cs"/>
              </a:rPr>
              <a:t> and </a:t>
            </a:r>
            <a:r>
              <a:rPr lang="en-US" sz="1088" kern="1200">
                <a:solidFill>
                  <a:schemeClr val="tx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tx1"/>
              </a:solidFill>
            </a:endParaRPr>
          </a:p>
        </p:txBody>
      </p:sp>
      <p:sp>
        <p:nvSpPr>
          <p:cNvPr id="8" name="Text Placeholder 9"/>
          <p:cNvSpPr>
            <a:spLocks noGrp="1"/>
          </p:cNvSpPr>
          <p:nvPr>
            <p:ph type="body" sz="quarter" idx="12"/>
          </p:nvPr>
        </p:nvSpPr>
        <p:spPr>
          <a:xfrm>
            <a:off x="7461885" y="1243471"/>
            <a:ext cx="4974590" cy="2486942"/>
          </a:xfrm>
          <a:solidFill>
            <a:srgbClr val="0A5BBA"/>
          </a:solidFill>
          <a:ln>
            <a:noFill/>
          </a:ln>
        </p:spPr>
        <p:txBody>
          <a:bodyPr lIns="182880" tIns="91440" rIns="91440" bIns="91440">
            <a:normAutofit/>
          </a:bodyPr>
          <a:lstStyle>
            <a:lvl1pPr marL="0" indent="0" algn="l">
              <a:lnSpc>
                <a:spcPct val="110000"/>
              </a:lnSpc>
              <a:buNone/>
              <a:defRPr lang="en-US" sz="3264" b="0" kern="1200" cap="none" spc="-136" baseline="0" dirty="0">
                <a:ln w="3175">
                  <a:noFill/>
                </a:ln>
                <a:solidFill>
                  <a:schemeClr val="bg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pic>
        <p:nvPicPr>
          <p:cNvPr id="6" name="Picture 5"/>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5972" y="152931"/>
            <a:ext cx="1243648" cy="265101"/>
          </a:xfrm>
          <a:prstGeom prst="rect">
            <a:avLst/>
          </a:prstGeom>
          <a:noFill/>
        </p:spPr>
      </p:pic>
    </p:spTree>
    <p:extLst>
      <p:ext uri="{BB962C8B-B14F-4D97-AF65-F5344CB8AC3E}">
        <p14:creationId xmlns:p14="http://schemas.microsoft.com/office/powerpoint/2010/main" val="280419760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End Slide 1">
    <p:bg>
      <p:bgPr>
        <a:solidFill>
          <a:srgbClr val="002050"/>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bg1"/>
                </a:solidFill>
                <a:latin typeface="+mn-lt"/>
                <a:ea typeface="+mn-ea"/>
                <a:cs typeface="+mn-cs"/>
              </a:rPr>
              <a:t>© 2013 Microsoft Corporation. All rights reserved. Microsoft, Windows,</a:t>
            </a:r>
            <a:r>
              <a:rPr lang="en-US" sz="1088" kern="1200" baseline="0">
                <a:solidFill>
                  <a:schemeClr val="bg1"/>
                </a:solidFill>
                <a:latin typeface="+mn-lt"/>
                <a:ea typeface="+mn-ea"/>
                <a:cs typeface="+mn-cs"/>
              </a:rPr>
              <a:t> and </a:t>
            </a:r>
            <a:r>
              <a:rPr lang="en-US" sz="1088" kern="1200">
                <a:solidFill>
                  <a:schemeClr val="bg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bg1"/>
              </a:solidFill>
            </a:endParaRPr>
          </a:p>
        </p:txBody>
      </p:sp>
      <p:sp>
        <p:nvSpPr>
          <p:cNvPr id="8" name="Text Placeholder 9"/>
          <p:cNvSpPr>
            <a:spLocks noGrp="1"/>
          </p:cNvSpPr>
          <p:nvPr>
            <p:ph type="body" sz="quarter" idx="12"/>
          </p:nvPr>
        </p:nvSpPr>
        <p:spPr>
          <a:xfrm>
            <a:off x="7461885" y="1243471"/>
            <a:ext cx="4974590" cy="2486942"/>
          </a:xfrm>
          <a:solidFill>
            <a:srgbClr val="0A5BBA"/>
          </a:solidFill>
          <a:ln>
            <a:noFill/>
          </a:ln>
        </p:spPr>
        <p:txBody>
          <a:bodyPr lIns="182880" tIns="91440" rIns="91440" bIns="91440">
            <a:normAutofit/>
          </a:bodyPr>
          <a:lstStyle>
            <a:lvl1pPr marL="0" indent="0" algn="l">
              <a:lnSpc>
                <a:spcPct val="110000"/>
              </a:lnSpc>
              <a:buNone/>
              <a:defRPr lang="en-US" sz="2720" b="0" kern="1200" cap="none" spc="-136" baseline="0" dirty="0">
                <a:ln w="3175">
                  <a:noFill/>
                </a:ln>
                <a:solidFill>
                  <a:schemeClr val="bg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pic>
        <p:nvPicPr>
          <p:cNvPr id="9" name="Picture Placeholder 5" descr="MSFT_logo_rgb_C-Wht.png"/>
          <p:cNvPicPr>
            <a:picLocks noChangeAspect="1"/>
          </p:cNvPicPr>
          <p:nvPr userDrawn="1"/>
        </p:nvPicPr>
        <p:blipFill>
          <a:blip r:embed="rId2"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Tree>
    <p:extLst>
      <p:ext uri="{BB962C8B-B14F-4D97-AF65-F5344CB8AC3E}">
        <p14:creationId xmlns:p14="http://schemas.microsoft.com/office/powerpoint/2010/main" val="38837373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nd Slide 2">
    <p:bg bwMode="ltGray">
      <p:bgPr>
        <a:solidFill>
          <a:srgbClr val="002050"/>
        </a:solidFill>
        <a:effectLst/>
      </p:bgPr>
    </p:bg>
    <p:spTree>
      <p:nvGrpSpPr>
        <p:cNvPr id="1" name=""/>
        <p:cNvGrpSpPr/>
        <p:nvPr/>
      </p:nvGrpSpPr>
      <p:grpSpPr>
        <a:xfrm>
          <a:off x="0" y="0"/>
          <a:ext cx="0" cy="0"/>
          <a:chOff x="0" y="0"/>
          <a:chExt cx="0" cy="0"/>
        </a:xfrm>
      </p:grpSpPr>
      <p:pic>
        <p:nvPicPr>
          <p:cNvPr id="11" name="Picture Placeholder 4" descr="MSFT_logo_rgb_C-Wht_D.png"/>
          <p:cNvPicPr>
            <a:picLocks noChangeAspect="1"/>
          </p:cNvPicPr>
          <p:nvPr userDrawn="1"/>
        </p:nvPicPr>
        <p:blipFill>
          <a:blip r:embed="rId2"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
        <p:nvSpPr>
          <p:cNvPr id="13" name="TextBox 12"/>
          <p:cNvSpPr txBox="1"/>
          <p:nvPr userDrawn="1"/>
        </p:nvSpPr>
        <p:spPr>
          <a:xfrm>
            <a:off x="9978051" y="135976"/>
            <a:ext cx="2043316" cy="286306"/>
          </a:xfrm>
          <a:prstGeom prst="rect">
            <a:avLst/>
          </a:prstGeom>
          <a:noFill/>
        </p:spPr>
        <p:txBody>
          <a:bodyPr wrap="square" rtlCol="0">
            <a:spAutoFit/>
          </a:bodyPr>
          <a:lstStyle/>
          <a:p>
            <a:pPr algn="r"/>
            <a:r>
              <a:rPr lang="en-US" sz="1224">
                <a:solidFill>
                  <a:schemeClr val="bg1"/>
                </a:solidFill>
                <a:latin typeface="Segoe UI" pitchFamily="34" charset="0"/>
                <a:ea typeface="Segoe UI" pitchFamily="34" charset="0"/>
                <a:cs typeface="Segoe UI" pitchFamily="34" charset="0"/>
              </a:rPr>
              <a:t>Microsoft Confidential</a:t>
            </a:r>
          </a:p>
        </p:txBody>
      </p:sp>
      <p:sp>
        <p:nvSpPr>
          <p:cNvPr id="14" name="TextBox 13"/>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bg1"/>
                </a:solidFill>
                <a:latin typeface="+mn-lt"/>
                <a:ea typeface="+mn-ea"/>
                <a:cs typeface="+mn-cs"/>
              </a:rPr>
              <a:t>© 2013 Microsoft Corporation. All rights reserved. Microsoft, Windows</a:t>
            </a:r>
            <a:r>
              <a:rPr lang="en-US" sz="1088" kern="1200" baseline="0">
                <a:solidFill>
                  <a:schemeClr val="bg1"/>
                </a:solidFill>
                <a:latin typeface="+mn-lt"/>
                <a:ea typeface="+mn-ea"/>
                <a:cs typeface="+mn-cs"/>
              </a:rPr>
              <a:t>, </a:t>
            </a:r>
            <a:r>
              <a:rPr lang="en-US" sz="1088" kern="1200">
                <a:solidFill>
                  <a:schemeClr val="bg1"/>
                </a:solidFill>
                <a:latin typeface="+mn-lt"/>
                <a:ea typeface="+mn-ea"/>
                <a:cs typeface="+mn-cs"/>
              </a:rPr>
              <a:t>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bg1"/>
              </a:solidFill>
            </a:endParaRPr>
          </a:p>
        </p:txBody>
      </p:sp>
      <p:sp>
        <p:nvSpPr>
          <p:cNvPr id="7" name="Text Placeholder 9"/>
          <p:cNvSpPr>
            <a:spLocks noGrp="1"/>
          </p:cNvSpPr>
          <p:nvPr>
            <p:ph type="body" sz="quarter" idx="12"/>
          </p:nvPr>
        </p:nvSpPr>
        <p:spPr>
          <a:xfrm>
            <a:off x="0" y="1243471"/>
            <a:ext cx="4974590" cy="2486942"/>
          </a:xfrm>
          <a:solidFill>
            <a:srgbClr val="FFFFFF">
              <a:alpha val="90000"/>
            </a:srgbClr>
          </a:solidFill>
        </p:spPr>
        <p:txBody>
          <a:bodyPr lIns="182880" tIns="91440" rIns="91440" bIns="91440">
            <a:normAutofit/>
          </a:bodyPr>
          <a:lstStyle>
            <a:lvl1pPr marL="0" indent="0" algn="l">
              <a:lnSpc>
                <a:spcPct val="110000"/>
              </a:lnSpc>
              <a:buNone/>
              <a:defRPr lang="en-US" sz="2720" b="0" kern="1200" cap="none" spc="-136" baseline="0" dirty="0">
                <a:ln w="3175">
                  <a:noFill/>
                </a:ln>
                <a:solidFill>
                  <a:schemeClr val="tx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spTree>
    <p:extLst>
      <p:ext uri="{BB962C8B-B14F-4D97-AF65-F5344CB8AC3E}">
        <p14:creationId xmlns:p14="http://schemas.microsoft.com/office/powerpoint/2010/main" val="89172220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3" y="450851"/>
            <a:ext cx="11493617"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2" y="1141380"/>
            <a:ext cx="11491332" cy="369332"/>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2" y="1836703"/>
            <a:ext cx="11491332" cy="246093"/>
          </a:xfrm>
        </p:spPr>
        <p:txBody>
          <a:bodyPr lIns="0" tIns="0"/>
          <a:lstStyle>
            <a:lvl1pPr marL="0" indent="0">
              <a:buNone/>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43023178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20" name="Picture 19"/>
          <p:cNvPicPr>
            <a:picLocks noChangeAspect="1"/>
          </p:cNvPicPr>
          <p:nvPr userDrawn="1"/>
        </p:nvPicPr>
        <p:blipFill rotWithShape="1">
          <a:blip r:embed="rId2"/>
          <a:srcRect t="14802" r="13030" b="11695"/>
          <a:stretch/>
        </p:blipFill>
        <p:spPr>
          <a:xfrm flipH="1">
            <a:off x="318" y="-318"/>
            <a:ext cx="12435840" cy="6995160"/>
          </a:xfrm>
          <a:prstGeom prst="rect">
            <a:avLst/>
          </a:prstGeom>
        </p:spPr>
      </p:pic>
      <p:sp>
        <p:nvSpPr>
          <p:cNvPr id="21" name="Rectangle 20"/>
          <p:cNvSpPr/>
          <p:nvPr userDrawn="1"/>
        </p:nvSpPr>
        <p:spPr bwMode="auto">
          <a:xfrm>
            <a:off x="0" y="0"/>
            <a:ext cx="12436475" cy="6994525"/>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2" name="Rectangle 21"/>
          <p:cNvSpPr/>
          <p:nvPr userDrawn="1"/>
        </p:nvSpPr>
        <p:spPr bwMode="gray">
          <a:xfrm>
            <a:off x="3017838" y="2582873"/>
            <a:ext cx="9143478" cy="4114791"/>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
        <p:nvSpPr>
          <p:cNvPr id="24" name="Text Placeholder 14"/>
          <p:cNvSpPr>
            <a:spLocks noGrp="1"/>
          </p:cNvSpPr>
          <p:nvPr>
            <p:ph type="body" sz="quarter" idx="15" hasCustomPrompt="1"/>
          </p:nvPr>
        </p:nvSpPr>
        <p:spPr>
          <a:xfrm>
            <a:off x="9418638" y="296864"/>
            <a:ext cx="2744788" cy="578303"/>
          </a:xfrm>
        </p:spPr>
        <p:txBody>
          <a:bodyPr lIns="182880" tIns="146304" rIns="182880" bIns="146304"/>
          <a:lstStyle>
            <a:lvl1pPr marL="0" indent="0" algn="r">
              <a:buNone/>
              <a:defRPr sz="2000">
                <a:gradFill>
                  <a:gsLst>
                    <a:gs pos="5310">
                      <a:srgbClr val="111111"/>
                    </a:gs>
                    <a:gs pos="20354">
                      <a:srgbClr val="111111"/>
                    </a:gs>
                  </a:gsLst>
                  <a:lin ang="5400000" scaled="0"/>
                </a:gradFill>
                <a:latin typeface="+mn-lt"/>
              </a:defRPr>
            </a:lvl1pPr>
          </a:lstStyle>
          <a:p>
            <a:pPr lvl="0"/>
            <a:r>
              <a:rPr lang="en-US"/>
              <a:t>Session Code</a:t>
            </a:r>
          </a:p>
        </p:txBody>
      </p:sp>
      <p:sp>
        <p:nvSpPr>
          <p:cNvPr id="9" name="Title 1"/>
          <p:cNvSpPr>
            <a:spLocks noGrp="1"/>
          </p:cNvSpPr>
          <p:nvPr>
            <p:ph type="title" hasCustomPrompt="1"/>
          </p:nvPr>
        </p:nvSpPr>
        <p:spPr bwMode="gray">
          <a:xfrm>
            <a:off x="3017838" y="2582555"/>
            <a:ext cx="9152309" cy="2279824"/>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gray">
          <a:xfrm>
            <a:off x="3017838" y="4868863"/>
            <a:ext cx="9152309"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109486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7"/>
          </a:xfrm>
          <a:noFill/>
        </p:spPr>
        <p:txBody>
          <a:bodyPr lIns="146304" tIns="91440" rIns="146304" bIns="91440" anchor="t" anchorCtr="0"/>
          <a:lstStyle>
            <a:lvl1pPr>
              <a:defRPr sz="6000" spc="-101"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8"/>
            <a:ext cx="9143938" cy="1828008"/>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5" y="479776"/>
            <a:ext cx="1639084" cy="359162"/>
          </a:xfrm>
          <a:prstGeom prst="rect">
            <a:avLst/>
          </a:prstGeom>
        </p:spPr>
      </p:pic>
    </p:spTree>
    <p:extLst>
      <p:ext uri="{BB962C8B-B14F-4D97-AF65-F5344CB8AC3E}">
        <p14:creationId xmlns:p14="http://schemas.microsoft.com/office/powerpoint/2010/main" val="13763537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93">
          <p15:clr>
            <a:srgbClr val="C35EA4"/>
          </p15:clr>
        </p15:guide>
        <p15:guide id="2" pos="7546">
          <p15:clr>
            <a:srgbClr val="C35EA4"/>
          </p15:clr>
        </p15:guide>
        <p15:guide id="3" orient="horz" pos="283">
          <p15:clr>
            <a:srgbClr val="C35EA4"/>
          </p15:clr>
        </p15:guide>
        <p15:guide id="4" orient="horz" pos="4104">
          <p15:clr>
            <a:srgbClr val="C35E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chemeClr val="bg2"/>
                </a:solidFill>
              </a:rPr>
              <a:t>Confidential under NDA</a:t>
            </a:r>
          </a:p>
        </p:txBody>
      </p:sp>
    </p:spTree>
    <p:extLst>
      <p:ext uri="{BB962C8B-B14F-4D97-AF65-F5344CB8AC3E}">
        <p14:creationId xmlns:p14="http://schemas.microsoft.com/office/powerpoint/2010/main" val="360273022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emo">
    <p:bg>
      <p:bgPr>
        <a:solidFill>
          <a:schemeClr val="accent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39061546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Demo">
    <p:bg>
      <p:bgPr>
        <a:solidFill>
          <a:schemeClr val="tx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358580221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Demo">
    <p:bg>
      <p:bgPr>
        <a:solidFill>
          <a:schemeClr val="accent4"/>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53428568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_Demo">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410303147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8_Demo">
    <p:bg>
      <p:bgPr>
        <a:solidFill>
          <a:schemeClr val="accent1">
            <a:lumMod val="75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6426120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Demo">
    <p:bg>
      <p:bgPr>
        <a:solidFill>
          <a:schemeClr val="accent1">
            <a:lumMod val="50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133756675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9_Demo">
    <p:bg>
      <p:bgPr>
        <a:solidFill>
          <a:schemeClr val="accent5"/>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35695797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Demo">
    <p:bg>
      <p:bgPr>
        <a:solidFill>
          <a:schemeClr val="accent5"/>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6"/>
            <a:ext cx="5954712" cy="426516"/>
          </a:xfrm>
        </p:spPr>
        <p:txBody>
          <a:bodyPr lIns="0" tIns="0"/>
          <a:lstStyle>
            <a:lvl1pPr marL="0" indent="0">
              <a:buNone/>
              <a:defRPr sz="2400">
                <a:solidFill>
                  <a:schemeClr val="bg1"/>
                </a:solidFill>
              </a:defRPr>
            </a:lvl1pPr>
          </a:lstStyle>
          <a:p>
            <a:pPr lvl="0"/>
            <a:endParaRPr lang="en-US"/>
          </a:p>
        </p:txBody>
      </p:sp>
      <p:pic>
        <p:nvPicPr>
          <p:cNvPr id="6" name="Picture 5"/>
          <p:cNvPicPr>
            <a:picLocks noChangeAspect="1"/>
          </p:cNvPicPr>
          <p:nvPr userDrawn="1"/>
        </p:nvPicPr>
        <p:blipFill>
          <a:blip r:embed="rId2"/>
          <a:stretch>
            <a:fillRect/>
          </a:stretch>
        </p:blipFill>
        <p:spPr>
          <a:xfrm>
            <a:off x="5521298" y="3174177"/>
            <a:ext cx="6590716" cy="4397616"/>
          </a:xfrm>
          <a:prstGeom prst="rect">
            <a:avLst/>
          </a:prstGeom>
        </p:spPr>
      </p:pic>
    </p:spTree>
    <p:extLst>
      <p:ext uri="{BB962C8B-B14F-4D97-AF65-F5344CB8AC3E}">
        <p14:creationId xmlns:p14="http://schemas.microsoft.com/office/powerpoint/2010/main" val="235534027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a:off x="457581" y="479425"/>
            <a:ext cx="1449939" cy="310896"/>
          </a:xfrm>
          <a:prstGeom prst="rect">
            <a:avLst/>
          </a:prstGeom>
        </p:spPr>
      </p:pic>
      <p:sp>
        <p:nvSpPr>
          <p:cNvPr id="7" name="Text Placeholder 14"/>
          <p:cNvSpPr>
            <a:spLocks noGrp="1"/>
          </p:cNvSpPr>
          <p:nvPr>
            <p:ph type="body" sz="quarter" idx="15" hasCustomPrompt="1"/>
          </p:nvPr>
        </p:nvSpPr>
        <p:spPr>
          <a:xfrm>
            <a:off x="9418638" y="296864"/>
            <a:ext cx="2743200" cy="578303"/>
          </a:xfrm>
        </p:spPr>
        <p:txBody>
          <a:bodyPr lIns="182880" tIns="146304" rIns="182880" bIns="146304"/>
          <a:lstStyle>
            <a:lvl1pPr marL="0" indent="0" algn="r">
              <a:buNone/>
              <a:defRPr sz="2000">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10694150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4"/>
          <p:cNvGrpSpPr>
            <a:grpSpLocks noChangeAspect="1"/>
          </p:cNvGrpSpPr>
          <p:nvPr userDrawn="1"/>
        </p:nvGrpSpPr>
        <p:grpSpPr bwMode="auto">
          <a:xfrm>
            <a:off x="7589839" y="296863"/>
            <a:ext cx="5174855" cy="6697663"/>
            <a:chOff x="4698" y="851"/>
            <a:chExt cx="1152" cy="1491"/>
          </a:xfrm>
        </p:grpSpPr>
        <p:sp>
          <p:nvSpPr>
            <p:cNvPr id="9"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6" name="Text Placeholder 25"/>
          <p:cNvSpPr>
            <a:spLocks noGrp="1"/>
          </p:cNvSpPr>
          <p:nvPr>
            <p:ph type="body" sz="quarter" idx="10"/>
          </p:nvPr>
        </p:nvSpPr>
        <p:spPr>
          <a:xfrm>
            <a:off x="274638" y="2389190"/>
            <a:ext cx="5264150" cy="592690"/>
          </a:xfrm>
        </p:spPr>
        <p:txBody>
          <a:bodyPr lIns="0" tIns="0"/>
          <a:lstStyle>
            <a:lvl1pPr marL="0" indent="0">
              <a:buNone/>
              <a:defRPr sz="3599">
                <a:solidFill>
                  <a:schemeClr val="bg1"/>
                </a:solidFill>
              </a:defRPr>
            </a:lvl1pPr>
          </a:lstStyle>
          <a:p>
            <a:pPr lvl="0"/>
            <a:endParaRPr lang="en-US"/>
          </a:p>
        </p:txBody>
      </p:sp>
      <p:sp>
        <p:nvSpPr>
          <p:cNvPr id="25"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22144547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92690"/>
          </a:xfrm>
        </p:spPr>
        <p:txBody>
          <a:bodyPr lIns="0" tIns="0"/>
          <a:lstStyle>
            <a:lvl1pPr marL="0" indent="0">
              <a:buNone/>
              <a:defRPr sz="3599">
                <a:solidFill>
                  <a:schemeClr val="bg1"/>
                </a:solidFill>
              </a:defRPr>
            </a:lvl1pPr>
          </a:lstStyle>
          <a:p>
            <a:pPr lvl="0"/>
            <a:endParaRPr lang="en-US"/>
          </a:p>
        </p:txBody>
      </p:sp>
      <p:grpSp>
        <p:nvGrpSpPr>
          <p:cNvPr id="2" name="Group 4"/>
          <p:cNvGrpSpPr>
            <a:grpSpLocks noChangeAspect="1"/>
          </p:cNvGrpSpPr>
          <p:nvPr userDrawn="1"/>
        </p:nvGrpSpPr>
        <p:grpSpPr bwMode="auto">
          <a:xfrm>
            <a:off x="7334441" y="384062"/>
            <a:ext cx="5102034" cy="6602529"/>
            <a:chOff x="4205" y="674"/>
            <a:chExt cx="2880" cy="3727"/>
          </a:xfrm>
        </p:grpSpPr>
        <p:sp>
          <p:nvSpPr>
            <p:cNvPr id="3" name="AutoShape 3"/>
            <p:cNvSpPr>
              <a:spLocks noChangeAspect="1" noChangeArrowheads="1" noTextEdit="1"/>
            </p:cNvSpPr>
            <p:nvPr userDrawn="1"/>
          </p:nvSpPr>
          <p:spPr bwMode="auto">
            <a:xfrm>
              <a:off x="4205" y="675"/>
              <a:ext cx="2880" cy="3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 name="Rectangle 6"/>
            <p:cNvSpPr>
              <a:spLocks noChangeArrowheads="1"/>
            </p:cNvSpPr>
            <p:nvPr userDrawn="1"/>
          </p:nvSpPr>
          <p:spPr bwMode="auto">
            <a:xfrm>
              <a:off x="4205" y="674"/>
              <a:ext cx="2880" cy="3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7"/>
            <p:cNvSpPr>
              <a:spLocks/>
            </p:cNvSpPr>
            <p:nvPr userDrawn="1"/>
          </p:nvSpPr>
          <p:spPr bwMode="auto">
            <a:xfrm>
              <a:off x="5794" y="2061"/>
              <a:ext cx="393" cy="490"/>
            </a:xfrm>
            <a:custGeom>
              <a:avLst/>
              <a:gdLst>
                <a:gd name="T0" fmla="*/ 10 w 334"/>
                <a:gd name="T1" fmla="*/ 417 h 417"/>
                <a:gd name="T2" fmla="*/ 0 w 334"/>
                <a:gd name="T3" fmla="*/ 417 h 417"/>
                <a:gd name="T4" fmla="*/ 2 w 334"/>
                <a:gd name="T5" fmla="*/ 335 h 417"/>
                <a:gd name="T6" fmla="*/ 10 w 334"/>
                <a:gd name="T7" fmla="*/ 335 h 417"/>
                <a:gd name="T8" fmla="*/ 144 w 334"/>
                <a:gd name="T9" fmla="*/ 292 h 417"/>
                <a:gd name="T10" fmla="*/ 216 w 334"/>
                <a:gd name="T11" fmla="*/ 190 h 417"/>
                <a:gd name="T12" fmla="*/ 252 w 334"/>
                <a:gd name="T13" fmla="*/ 5 h 417"/>
                <a:gd name="T14" fmla="*/ 252 w 334"/>
                <a:gd name="T15" fmla="*/ 1 h 417"/>
                <a:gd name="T16" fmla="*/ 252 w 334"/>
                <a:gd name="T17" fmla="*/ 1 h 417"/>
                <a:gd name="T18" fmla="*/ 334 w 334"/>
                <a:gd name="T19" fmla="*/ 0 h 417"/>
                <a:gd name="T20" fmla="*/ 334 w 334"/>
                <a:gd name="T21" fmla="*/ 5 h 417"/>
                <a:gd name="T22" fmla="*/ 316 w 334"/>
                <a:gd name="T23" fmla="*/ 150 h 417"/>
                <a:gd name="T24" fmla="*/ 196 w 334"/>
                <a:gd name="T25" fmla="*/ 356 h 417"/>
                <a:gd name="T26" fmla="*/ 11 w 334"/>
                <a:gd name="T27" fmla="*/ 417 h 417"/>
                <a:gd name="T28" fmla="*/ 10 w 334"/>
                <a:gd name="T29"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417">
                  <a:moveTo>
                    <a:pt x="10" y="417"/>
                  </a:moveTo>
                  <a:cubicBezTo>
                    <a:pt x="7" y="417"/>
                    <a:pt x="3" y="417"/>
                    <a:pt x="0" y="417"/>
                  </a:cubicBezTo>
                  <a:cubicBezTo>
                    <a:pt x="2" y="335"/>
                    <a:pt x="2" y="335"/>
                    <a:pt x="2" y="335"/>
                  </a:cubicBezTo>
                  <a:cubicBezTo>
                    <a:pt x="5" y="335"/>
                    <a:pt x="8" y="335"/>
                    <a:pt x="10" y="335"/>
                  </a:cubicBezTo>
                  <a:cubicBezTo>
                    <a:pt x="71" y="335"/>
                    <a:pt x="112" y="318"/>
                    <a:pt x="144" y="292"/>
                  </a:cubicBezTo>
                  <a:cubicBezTo>
                    <a:pt x="176" y="266"/>
                    <a:pt x="200" y="230"/>
                    <a:pt x="216" y="190"/>
                  </a:cubicBezTo>
                  <a:cubicBezTo>
                    <a:pt x="249" y="111"/>
                    <a:pt x="252" y="22"/>
                    <a:pt x="252" y="5"/>
                  </a:cubicBezTo>
                  <a:cubicBezTo>
                    <a:pt x="252" y="2"/>
                    <a:pt x="252" y="1"/>
                    <a:pt x="252" y="1"/>
                  </a:cubicBezTo>
                  <a:cubicBezTo>
                    <a:pt x="252" y="1"/>
                    <a:pt x="252" y="1"/>
                    <a:pt x="252" y="1"/>
                  </a:cubicBezTo>
                  <a:cubicBezTo>
                    <a:pt x="334" y="0"/>
                    <a:pt x="334" y="0"/>
                    <a:pt x="334" y="0"/>
                  </a:cubicBezTo>
                  <a:cubicBezTo>
                    <a:pt x="334" y="0"/>
                    <a:pt x="334" y="2"/>
                    <a:pt x="334" y="5"/>
                  </a:cubicBezTo>
                  <a:cubicBezTo>
                    <a:pt x="334" y="22"/>
                    <a:pt x="333" y="81"/>
                    <a:pt x="316" y="150"/>
                  </a:cubicBezTo>
                  <a:cubicBezTo>
                    <a:pt x="298" y="219"/>
                    <a:pt x="265" y="300"/>
                    <a:pt x="196" y="356"/>
                  </a:cubicBezTo>
                  <a:cubicBezTo>
                    <a:pt x="150" y="393"/>
                    <a:pt x="88" y="417"/>
                    <a:pt x="11" y="417"/>
                  </a:cubicBezTo>
                  <a:cubicBezTo>
                    <a:pt x="10" y="417"/>
                    <a:pt x="10" y="417"/>
                    <a:pt x="10" y="417"/>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8"/>
            <p:cNvSpPr>
              <a:spLocks/>
            </p:cNvSpPr>
            <p:nvPr userDrawn="1"/>
          </p:nvSpPr>
          <p:spPr bwMode="auto">
            <a:xfrm>
              <a:off x="5797" y="2061"/>
              <a:ext cx="390" cy="490"/>
            </a:xfrm>
            <a:custGeom>
              <a:avLst/>
              <a:gdLst>
                <a:gd name="T0" fmla="*/ 332 w 332"/>
                <a:gd name="T1" fmla="*/ 0 h 417"/>
                <a:gd name="T2" fmla="*/ 250 w 332"/>
                <a:gd name="T3" fmla="*/ 1 h 417"/>
                <a:gd name="T4" fmla="*/ 250 w 332"/>
                <a:gd name="T5" fmla="*/ 1 h 417"/>
                <a:gd name="T6" fmla="*/ 250 w 332"/>
                <a:gd name="T7" fmla="*/ 5 h 417"/>
                <a:gd name="T8" fmla="*/ 250 w 332"/>
                <a:gd name="T9" fmla="*/ 6 h 417"/>
                <a:gd name="T10" fmla="*/ 214 w 332"/>
                <a:gd name="T11" fmla="*/ 190 h 417"/>
                <a:gd name="T12" fmla="*/ 142 w 332"/>
                <a:gd name="T13" fmla="*/ 292 h 417"/>
                <a:gd name="T14" fmla="*/ 8 w 332"/>
                <a:gd name="T15" fmla="*/ 335 h 417"/>
                <a:gd name="T16" fmla="*/ 0 w 332"/>
                <a:gd name="T17" fmla="*/ 335 h 417"/>
                <a:gd name="T18" fmla="*/ 0 w 332"/>
                <a:gd name="T19" fmla="*/ 335 h 417"/>
                <a:gd name="T20" fmla="*/ 16 w 332"/>
                <a:gd name="T21" fmla="*/ 335 h 417"/>
                <a:gd name="T22" fmla="*/ 16 w 332"/>
                <a:gd name="T23" fmla="*/ 417 h 417"/>
                <a:gd name="T24" fmla="*/ 194 w 332"/>
                <a:gd name="T25" fmla="*/ 356 h 417"/>
                <a:gd name="T26" fmla="*/ 314 w 332"/>
                <a:gd name="T27" fmla="*/ 150 h 417"/>
                <a:gd name="T28" fmla="*/ 332 w 332"/>
                <a:gd name="T29" fmla="*/ 5 h 417"/>
                <a:gd name="T30" fmla="*/ 332 w 332"/>
                <a:gd name="T31"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2" h="417">
                  <a:moveTo>
                    <a:pt x="332" y="0"/>
                  </a:moveTo>
                  <a:cubicBezTo>
                    <a:pt x="250" y="1"/>
                    <a:pt x="250" y="1"/>
                    <a:pt x="250" y="1"/>
                  </a:cubicBezTo>
                  <a:cubicBezTo>
                    <a:pt x="250" y="1"/>
                    <a:pt x="250" y="1"/>
                    <a:pt x="250" y="1"/>
                  </a:cubicBezTo>
                  <a:cubicBezTo>
                    <a:pt x="250" y="1"/>
                    <a:pt x="250" y="2"/>
                    <a:pt x="250" y="5"/>
                  </a:cubicBezTo>
                  <a:cubicBezTo>
                    <a:pt x="250" y="5"/>
                    <a:pt x="250" y="6"/>
                    <a:pt x="250" y="6"/>
                  </a:cubicBezTo>
                  <a:cubicBezTo>
                    <a:pt x="250" y="28"/>
                    <a:pt x="246" y="114"/>
                    <a:pt x="214" y="190"/>
                  </a:cubicBezTo>
                  <a:cubicBezTo>
                    <a:pt x="198" y="230"/>
                    <a:pt x="174" y="266"/>
                    <a:pt x="142" y="292"/>
                  </a:cubicBezTo>
                  <a:cubicBezTo>
                    <a:pt x="110" y="318"/>
                    <a:pt x="69" y="335"/>
                    <a:pt x="8" y="335"/>
                  </a:cubicBezTo>
                  <a:cubicBezTo>
                    <a:pt x="6" y="335"/>
                    <a:pt x="3" y="335"/>
                    <a:pt x="0" y="335"/>
                  </a:cubicBezTo>
                  <a:cubicBezTo>
                    <a:pt x="0" y="335"/>
                    <a:pt x="0" y="335"/>
                    <a:pt x="0" y="335"/>
                  </a:cubicBezTo>
                  <a:cubicBezTo>
                    <a:pt x="16" y="335"/>
                    <a:pt x="16" y="335"/>
                    <a:pt x="16" y="335"/>
                  </a:cubicBezTo>
                  <a:cubicBezTo>
                    <a:pt x="16" y="417"/>
                    <a:pt x="16" y="417"/>
                    <a:pt x="16" y="417"/>
                  </a:cubicBezTo>
                  <a:cubicBezTo>
                    <a:pt x="89" y="416"/>
                    <a:pt x="149" y="392"/>
                    <a:pt x="194" y="356"/>
                  </a:cubicBezTo>
                  <a:cubicBezTo>
                    <a:pt x="263" y="300"/>
                    <a:pt x="296" y="219"/>
                    <a:pt x="314" y="150"/>
                  </a:cubicBezTo>
                  <a:cubicBezTo>
                    <a:pt x="331" y="81"/>
                    <a:pt x="332" y="22"/>
                    <a:pt x="332" y="5"/>
                  </a:cubicBezTo>
                  <a:cubicBezTo>
                    <a:pt x="332" y="2"/>
                    <a:pt x="332" y="0"/>
                    <a:pt x="332" y="0"/>
                  </a:cubicBezTo>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9"/>
            <p:cNvSpPr>
              <a:spLocks/>
            </p:cNvSpPr>
            <p:nvPr userDrawn="1"/>
          </p:nvSpPr>
          <p:spPr bwMode="auto">
            <a:xfrm>
              <a:off x="5291" y="4067"/>
              <a:ext cx="776" cy="112"/>
            </a:xfrm>
            <a:custGeom>
              <a:avLst/>
              <a:gdLst>
                <a:gd name="T0" fmla="*/ 613 w 660"/>
                <a:gd name="T1" fmla="*/ 0 h 95"/>
                <a:gd name="T2" fmla="*/ 470 w 660"/>
                <a:gd name="T3" fmla="*/ 0 h 95"/>
                <a:gd name="T4" fmla="*/ 484 w 660"/>
                <a:gd name="T5" fmla="*/ 14 h 95"/>
                <a:gd name="T6" fmla="*/ 484 w 660"/>
                <a:gd name="T7" fmla="*/ 36 h 95"/>
                <a:gd name="T8" fmla="*/ 313 w 660"/>
                <a:gd name="T9" fmla="*/ 36 h 95"/>
                <a:gd name="T10" fmla="*/ 164 w 660"/>
                <a:gd name="T11" fmla="*/ 36 h 95"/>
                <a:gd name="T12" fmla="*/ 164 w 660"/>
                <a:gd name="T13" fmla="*/ 0 h 95"/>
                <a:gd name="T14" fmla="*/ 48 w 660"/>
                <a:gd name="T15" fmla="*/ 0 h 95"/>
                <a:gd name="T16" fmla="*/ 0 w 660"/>
                <a:gd name="T17" fmla="*/ 47 h 95"/>
                <a:gd name="T18" fmla="*/ 48 w 660"/>
                <a:gd name="T19" fmla="*/ 95 h 95"/>
                <a:gd name="T20" fmla="*/ 613 w 660"/>
                <a:gd name="T21" fmla="*/ 95 h 95"/>
                <a:gd name="T22" fmla="*/ 660 w 660"/>
                <a:gd name="T23" fmla="*/ 47 h 95"/>
                <a:gd name="T24" fmla="*/ 613 w 660"/>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0" h="95">
                  <a:moveTo>
                    <a:pt x="613" y="0"/>
                  </a:moveTo>
                  <a:cubicBezTo>
                    <a:pt x="470" y="0"/>
                    <a:pt x="470" y="0"/>
                    <a:pt x="470" y="0"/>
                  </a:cubicBezTo>
                  <a:cubicBezTo>
                    <a:pt x="484" y="14"/>
                    <a:pt x="484" y="14"/>
                    <a:pt x="484" y="14"/>
                  </a:cubicBezTo>
                  <a:cubicBezTo>
                    <a:pt x="484" y="36"/>
                    <a:pt x="484" y="36"/>
                    <a:pt x="484" y="36"/>
                  </a:cubicBezTo>
                  <a:cubicBezTo>
                    <a:pt x="313" y="36"/>
                    <a:pt x="313" y="36"/>
                    <a:pt x="313" y="36"/>
                  </a:cubicBezTo>
                  <a:cubicBezTo>
                    <a:pt x="164" y="36"/>
                    <a:pt x="164" y="36"/>
                    <a:pt x="164" y="36"/>
                  </a:cubicBezTo>
                  <a:cubicBezTo>
                    <a:pt x="164" y="0"/>
                    <a:pt x="164" y="0"/>
                    <a:pt x="164" y="0"/>
                  </a:cubicBezTo>
                  <a:cubicBezTo>
                    <a:pt x="48" y="0"/>
                    <a:pt x="48" y="0"/>
                    <a:pt x="48" y="0"/>
                  </a:cubicBezTo>
                  <a:cubicBezTo>
                    <a:pt x="22" y="0"/>
                    <a:pt x="0" y="21"/>
                    <a:pt x="0" y="47"/>
                  </a:cubicBezTo>
                  <a:cubicBezTo>
                    <a:pt x="0" y="74"/>
                    <a:pt x="22" y="95"/>
                    <a:pt x="48" y="95"/>
                  </a:cubicBezTo>
                  <a:cubicBezTo>
                    <a:pt x="613" y="95"/>
                    <a:pt x="613" y="95"/>
                    <a:pt x="613" y="95"/>
                  </a:cubicBezTo>
                  <a:cubicBezTo>
                    <a:pt x="639" y="95"/>
                    <a:pt x="660" y="74"/>
                    <a:pt x="660" y="47"/>
                  </a:cubicBezTo>
                  <a:cubicBezTo>
                    <a:pt x="660" y="21"/>
                    <a:pt x="639" y="0"/>
                    <a:pt x="613" y="0"/>
                  </a:cubicBezTo>
                </a:path>
              </a:pathLst>
            </a:custGeom>
            <a:solidFill>
              <a:srgbClr val="62AE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10"/>
            <p:cNvSpPr>
              <a:spLocks/>
            </p:cNvSpPr>
            <p:nvPr userDrawn="1"/>
          </p:nvSpPr>
          <p:spPr bwMode="auto">
            <a:xfrm>
              <a:off x="5407" y="2455"/>
              <a:ext cx="409" cy="839"/>
            </a:xfrm>
            <a:custGeom>
              <a:avLst/>
              <a:gdLst>
                <a:gd name="T0" fmla="*/ 347 w 347"/>
                <a:gd name="T1" fmla="*/ 187 h 714"/>
                <a:gd name="T2" fmla="*/ 347 w 347"/>
                <a:gd name="T3" fmla="*/ 0 h 714"/>
                <a:gd name="T4" fmla="*/ 0 w 347"/>
                <a:gd name="T5" fmla="*/ 0 h 714"/>
                <a:gd name="T6" fmla="*/ 0 w 347"/>
                <a:gd name="T7" fmla="*/ 714 h 714"/>
                <a:gd name="T8" fmla="*/ 347 w 347"/>
                <a:gd name="T9" fmla="*/ 714 h 714"/>
                <a:gd name="T10" fmla="*/ 347 w 347"/>
                <a:gd name="T11" fmla="*/ 656 h 714"/>
                <a:gd name="T12" fmla="*/ 310 w 347"/>
                <a:gd name="T13" fmla="*/ 406 h 714"/>
                <a:gd name="T14" fmla="*/ 347 w 347"/>
                <a:gd name="T15" fmla="*/ 187 h 7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7" h="714">
                  <a:moveTo>
                    <a:pt x="347" y="187"/>
                  </a:moveTo>
                  <a:cubicBezTo>
                    <a:pt x="347" y="0"/>
                    <a:pt x="347" y="0"/>
                    <a:pt x="347" y="0"/>
                  </a:cubicBezTo>
                  <a:cubicBezTo>
                    <a:pt x="0" y="0"/>
                    <a:pt x="0" y="0"/>
                    <a:pt x="0" y="0"/>
                  </a:cubicBezTo>
                  <a:cubicBezTo>
                    <a:pt x="0" y="714"/>
                    <a:pt x="0" y="714"/>
                    <a:pt x="0" y="714"/>
                  </a:cubicBezTo>
                  <a:cubicBezTo>
                    <a:pt x="347" y="714"/>
                    <a:pt x="347" y="714"/>
                    <a:pt x="347" y="714"/>
                  </a:cubicBezTo>
                  <a:cubicBezTo>
                    <a:pt x="347" y="656"/>
                    <a:pt x="347" y="656"/>
                    <a:pt x="347" y="656"/>
                  </a:cubicBezTo>
                  <a:cubicBezTo>
                    <a:pt x="344" y="575"/>
                    <a:pt x="335" y="475"/>
                    <a:pt x="310" y="406"/>
                  </a:cubicBezTo>
                  <a:cubicBezTo>
                    <a:pt x="310" y="406"/>
                    <a:pt x="340" y="258"/>
                    <a:pt x="347" y="187"/>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1"/>
            <p:cNvSpPr>
              <a:spLocks/>
            </p:cNvSpPr>
            <p:nvPr userDrawn="1"/>
          </p:nvSpPr>
          <p:spPr bwMode="auto">
            <a:xfrm>
              <a:off x="6091" y="1962"/>
              <a:ext cx="96" cy="101"/>
            </a:xfrm>
            <a:custGeom>
              <a:avLst/>
              <a:gdLst>
                <a:gd name="T0" fmla="*/ 82 w 82"/>
                <a:gd name="T1" fmla="*/ 43 h 86"/>
                <a:gd name="T2" fmla="*/ 82 w 82"/>
                <a:gd name="T3" fmla="*/ 41 h 86"/>
                <a:gd name="T4" fmla="*/ 41 w 82"/>
                <a:gd name="T5" fmla="*/ 0 h 86"/>
                <a:gd name="T6" fmla="*/ 0 w 82"/>
                <a:gd name="T7" fmla="*/ 41 h 86"/>
                <a:gd name="T8" fmla="*/ 0 w 82"/>
                <a:gd name="T9" fmla="*/ 43 h 86"/>
                <a:gd name="T10" fmla="*/ 0 w 82"/>
                <a:gd name="T11" fmla="*/ 43 h 86"/>
                <a:gd name="T12" fmla="*/ 0 w 82"/>
                <a:gd name="T13" fmla="*/ 85 h 86"/>
                <a:gd name="T14" fmla="*/ 82 w 82"/>
                <a:gd name="T15" fmla="*/ 86 h 86"/>
                <a:gd name="T16" fmla="*/ 82 w 82"/>
                <a:gd name="T17"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6">
                  <a:moveTo>
                    <a:pt x="82" y="43"/>
                  </a:moveTo>
                  <a:cubicBezTo>
                    <a:pt x="82" y="43"/>
                    <a:pt x="82" y="42"/>
                    <a:pt x="82" y="41"/>
                  </a:cubicBezTo>
                  <a:cubicBezTo>
                    <a:pt x="82" y="19"/>
                    <a:pt x="64" y="0"/>
                    <a:pt x="41" y="0"/>
                  </a:cubicBezTo>
                  <a:cubicBezTo>
                    <a:pt x="18" y="0"/>
                    <a:pt x="0" y="19"/>
                    <a:pt x="0" y="41"/>
                  </a:cubicBezTo>
                  <a:cubicBezTo>
                    <a:pt x="0" y="42"/>
                    <a:pt x="0" y="42"/>
                    <a:pt x="0" y="43"/>
                  </a:cubicBezTo>
                  <a:cubicBezTo>
                    <a:pt x="0" y="43"/>
                    <a:pt x="0" y="43"/>
                    <a:pt x="0" y="43"/>
                  </a:cubicBezTo>
                  <a:cubicBezTo>
                    <a:pt x="0" y="85"/>
                    <a:pt x="0" y="85"/>
                    <a:pt x="0" y="85"/>
                  </a:cubicBezTo>
                  <a:cubicBezTo>
                    <a:pt x="82" y="86"/>
                    <a:pt x="82" y="86"/>
                    <a:pt x="82" y="86"/>
                  </a:cubicBezTo>
                  <a:cubicBezTo>
                    <a:pt x="82" y="43"/>
                    <a:pt x="82" y="43"/>
                    <a:pt x="82" y="43"/>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2"/>
            <p:cNvSpPr>
              <a:spLocks/>
            </p:cNvSpPr>
            <p:nvPr userDrawn="1"/>
          </p:nvSpPr>
          <p:spPr bwMode="auto">
            <a:xfrm>
              <a:off x="5659" y="3996"/>
              <a:ext cx="201" cy="113"/>
            </a:xfrm>
            <a:custGeom>
              <a:avLst/>
              <a:gdLst>
                <a:gd name="T0" fmla="*/ 201 w 201"/>
                <a:gd name="T1" fmla="*/ 87 h 113"/>
                <a:gd name="T2" fmla="*/ 114 w 201"/>
                <a:gd name="T3" fmla="*/ 0 h 113"/>
                <a:gd name="T4" fmla="*/ 0 w 201"/>
                <a:gd name="T5" fmla="*/ 0 h 113"/>
                <a:gd name="T6" fmla="*/ 0 w 201"/>
                <a:gd name="T7" fmla="*/ 113 h 113"/>
                <a:gd name="T8" fmla="*/ 201 w 201"/>
                <a:gd name="T9" fmla="*/ 113 h 113"/>
                <a:gd name="T10" fmla="*/ 201 w 201"/>
                <a:gd name="T11" fmla="*/ 87 h 113"/>
              </a:gdLst>
              <a:ahLst/>
              <a:cxnLst>
                <a:cxn ang="0">
                  <a:pos x="T0" y="T1"/>
                </a:cxn>
                <a:cxn ang="0">
                  <a:pos x="T2" y="T3"/>
                </a:cxn>
                <a:cxn ang="0">
                  <a:pos x="T4" y="T5"/>
                </a:cxn>
                <a:cxn ang="0">
                  <a:pos x="T6" y="T7"/>
                </a:cxn>
                <a:cxn ang="0">
                  <a:pos x="T8" y="T9"/>
                </a:cxn>
                <a:cxn ang="0">
                  <a:pos x="T10" y="T11"/>
                </a:cxn>
              </a:cxnLst>
              <a:rect l="0" t="0" r="r" b="b"/>
              <a:pathLst>
                <a:path w="201" h="113">
                  <a:moveTo>
                    <a:pt x="201" y="87"/>
                  </a:moveTo>
                  <a:lnTo>
                    <a:pt x="114" y="0"/>
                  </a:lnTo>
                  <a:lnTo>
                    <a:pt x="0" y="0"/>
                  </a:lnTo>
                  <a:lnTo>
                    <a:pt x="0" y="113"/>
                  </a:lnTo>
                  <a:lnTo>
                    <a:pt x="201" y="113"/>
                  </a:lnTo>
                  <a:lnTo>
                    <a:pt x="201" y="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13"/>
            <p:cNvSpPr>
              <a:spLocks/>
            </p:cNvSpPr>
            <p:nvPr userDrawn="1"/>
          </p:nvSpPr>
          <p:spPr bwMode="auto">
            <a:xfrm>
              <a:off x="5659" y="3996"/>
              <a:ext cx="201" cy="113"/>
            </a:xfrm>
            <a:custGeom>
              <a:avLst/>
              <a:gdLst>
                <a:gd name="T0" fmla="*/ 201 w 201"/>
                <a:gd name="T1" fmla="*/ 87 h 113"/>
                <a:gd name="T2" fmla="*/ 114 w 201"/>
                <a:gd name="T3" fmla="*/ 0 h 113"/>
                <a:gd name="T4" fmla="*/ 0 w 201"/>
                <a:gd name="T5" fmla="*/ 0 h 113"/>
                <a:gd name="T6" fmla="*/ 0 w 201"/>
                <a:gd name="T7" fmla="*/ 113 h 113"/>
                <a:gd name="T8" fmla="*/ 201 w 201"/>
                <a:gd name="T9" fmla="*/ 113 h 113"/>
                <a:gd name="T10" fmla="*/ 201 w 201"/>
                <a:gd name="T11" fmla="*/ 87 h 113"/>
              </a:gdLst>
              <a:ahLst/>
              <a:cxnLst>
                <a:cxn ang="0">
                  <a:pos x="T0" y="T1"/>
                </a:cxn>
                <a:cxn ang="0">
                  <a:pos x="T2" y="T3"/>
                </a:cxn>
                <a:cxn ang="0">
                  <a:pos x="T4" y="T5"/>
                </a:cxn>
                <a:cxn ang="0">
                  <a:pos x="T6" y="T7"/>
                </a:cxn>
                <a:cxn ang="0">
                  <a:pos x="T8" y="T9"/>
                </a:cxn>
                <a:cxn ang="0">
                  <a:pos x="T10" y="T11"/>
                </a:cxn>
              </a:cxnLst>
              <a:rect l="0" t="0" r="r" b="b"/>
              <a:pathLst>
                <a:path w="201" h="113">
                  <a:moveTo>
                    <a:pt x="201" y="87"/>
                  </a:moveTo>
                  <a:lnTo>
                    <a:pt x="114" y="0"/>
                  </a:lnTo>
                  <a:lnTo>
                    <a:pt x="0" y="0"/>
                  </a:lnTo>
                  <a:lnTo>
                    <a:pt x="0" y="113"/>
                  </a:lnTo>
                  <a:lnTo>
                    <a:pt x="201" y="113"/>
                  </a:lnTo>
                  <a:lnTo>
                    <a:pt x="201" y="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Rectangle 14"/>
            <p:cNvSpPr>
              <a:spLocks noChangeArrowheads="1"/>
            </p:cNvSpPr>
            <p:nvPr userDrawn="1"/>
          </p:nvSpPr>
          <p:spPr bwMode="auto">
            <a:xfrm>
              <a:off x="5659" y="3261"/>
              <a:ext cx="113" cy="73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Rectangle 15"/>
            <p:cNvSpPr>
              <a:spLocks noChangeArrowheads="1"/>
            </p:cNvSpPr>
            <p:nvPr userDrawn="1"/>
          </p:nvSpPr>
          <p:spPr bwMode="auto">
            <a:xfrm>
              <a:off x="5659" y="3261"/>
              <a:ext cx="113"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6"/>
            <p:cNvSpPr>
              <a:spLocks/>
            </p:cNvSpPr>
            <p:nvPr userDrawn="1"/>
          </p:nvSpPr>
          <p:spPr bwMode="auto">
            <a:xfrm>
              <a:off x="5659" y="3996"/>
              <a:ext cx="54" cy="113"/>
            </a:xfrm>
            <a:custGeom>
              <a:avLst/>
              <a:gdLst>
                <a:gd name="T0" fmla="*/ 54 w 54"/>
                <a:gd name="T1" fmla="*/ 0 h 113"/>
                <a:gd name="T2" fmla="*/ 0 w 54"/>
                <a:gd name="T3" fmla="*/ 0 h 113"/>
                <a:gd name="T4" fmla="*/ 0 w 54"/>
                <a:gd name="T5" fmla="*/ 62 h 113"/>
                <a:gd name="T6" fmla="*/ 25 w 54"/>
                <a:gd name="T7" fmla="*/ 87 h 113"/>
                <a:gd name="T8" fmla="*/ 25 w 54"/>
                <a:gd name="T9" fmla="*/ 113 h 113"/>
                <a:gd name="T10" fmla="*/ 0 w 54"/>
                <a:gd name="T11" fmla="*/ 113 h 113"/>
                <a:gd name="T12" fmla="*/ 54 w 54"/>
                <a:gd name="T13" fmla="*/ 113 h 113"/>
                <a:gd name="T14" fmla="*/ 54 w 54"/>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13">
                  <a:moveTo>
                    <a:pt x="54" y="0"/>
                  </a:moveTo>
                  <a:lnTo>
                    <a:pt x="0" y="0"/>
                  </a:lnTo>
                  <a:lnTo>
                    <a:pt x="0" y="62"/>
                  </a:lnTo>
                  <a:lnTo>
                    <a:pt x="25" y="87"/>
                  </a:lnTo>
                  <a:lnTo>
                    <a:pt x="25" y="113"/>
                  </a:lnTo>
                  <a:lnTo>
                    <a:pt x="0" y="113"/>
                  </a:lnTo>
                  <a:lnTo>
                    <a:pt x="54" y="113"/>
                  </a:lnTo>
                  <a:lnTo>
                    <a:pt x="54" y="0"/>
                  </a:lnTo>
                  <a:close/>
                </a:path>
              </a:pathLst>
            </a:custGeom>
            <a:solidFill>
              <a:srgbClr val="001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17"/>
            <p:cNvSpPr>
              <a:spLocks/>
            </p:cNvSpPr>
            <p:nvPr userDrawn="1"/>
          </p:nvSpPr>
          <p:spPr bwMode="auto">
            <a:xfrm>
              <a:off x="5659" y="3996"/>
              <a:ext cx="54" cy="113"/>
            </a:xfrm>
            <a:custGeom>
              <a:avLst/>
              <a:gdLst>
                <a:gd name="T0" fmla="*/ 54 w 54"/>
                <a:gd name="T1" fmla="*/ 0 h 113"/>
                <a:gd name="T2" fmla="*/ 0 w 54"/>
                <a:gd name="T3" fmla="*/ 0 h 113"/>
                <a:gd name="T4" fmla="*/ 0 w 54"/>
                <a:gd name="T5" fmla="*/ 62 h 113"/>
                <a:gd name="T6" fmla="*/ 25 w 54"/>
                <a:gd name="T7" fmla="*/ 87 h 113"/>
                <a:gd name="T8" fmla="*/ 25 w 54"/>
                <a:gd name="T9" fmla="*/ 113 h 113"/>
                <a:gd name="T10" fmla="*/ 0 w 54"/>
                <a:gd name="T11" fmla="*/ 113 h 113"/>
                <a:gd name="T12" fmla="*/ 54 w 54"/>
                <a:gd name="T13" fmla="*/ 113 h 113"/>
                <a:gd name="T14" fmla="*/ 54 w 54"/>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13">
                  <a:moveTo>
                    <a:pt x="54" y="0"/>
                  </a:moveTo>
                  <a:lnTo>
                    <a:pt x="0" y="0"/>
                  </a:lnTo>
                  <a:lnTo>
                    <a:pt x="0" y="62"/>
                  </a:lnTo>
                  <a:lnTo>
                    <a:pt x="25" y="87"/>
                  </a:lnTo>
                  <a:lnTo>
                    <a:pt x="25" y="113"/>
                  </a:lnTo>
                  <a:lnTo>
                    <a:pt x="0" y="113"/>
                  </a:lnTo>
                  <a:lnTo>
                    <a:pt x="54" y="113"/>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Rectangle 18"/>
            <p:cNvSpPr>
              <a:spLocks noChangeArrowheads="1"/>
            </p:cNvSpPr>
            <p:nvPr userDrawn="1"/>
          </p:nvSpPr>
          <p:spPr bwMode="auto">
            <a:xfrm>
              <a:off x="5659" y="3294"/>
              <a:ext cx="54" cy="702"/>
            </a:xfrm>
            <a:prstGeom prst="rect">
              <a:avLst/>
            </a:prstGeom>
            <a:solidFill>
              <a:srgbClr val="0014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Rectangle 19"/>
            <p:cNvSpPr>
              <a:spLocks noChangeArrowheads="1"/>
            </p:cNvSpPr>
            <p:nvPr userDrawn="1"/>
          </p:nvSpPr>
          <p:spPr bwMode="auto">
            <a:xfrm>
              <a:off x="5659" y="3294"/>
              <a:ext cx="54" cy="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Rectangle 20"/>
            <p:cNvSpPr>
              <a:spLocks noChangeArrowheads="1"/>
            </p:cNvSpPr>
            <p:nvPr userDrawn="1"/>
          </p:nvSpPr>
          <p:spPr bwMode="auto">
            <a:xfrm>
              <a:off x="5484" y="3261"/>
              <a:ext cx="113" cy="73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Rectangle 21"/>
            <p:cNvSpPr>
              <a:spLocks noChangeArrowheads="1"/>
            </p:cNvSpPr>
            <p:nvPr userDrawn="1"/>
          </p:nvSpPr>
          <p:spPr bwMode="auto">
            <a:xfrm>
              <a:off x="5484" y="3261"/>
              <a:ext cx="113"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22"/>
            <p:cNvSpPr>
              <a:spLocks/>
            </p:cNvSpPr>
            <p:nvPr userDrawn="1"/>
          </p:nvSpPr>
          <p:spPr bwMode="auto">
            <a:xfrm>
              <a:off x="5484" y="3996"/>
              <a:ext cx="200" cy="113"/>
            </a:xfrm>
            <a:custGeom>
              <a:avLst/>
              <a:gdLst>
                <a:gd name="T0" fmla="*/ 200 w 200"/>
                <a:gd name="T1" fmla="*/ 87 h 113"/>
                <a:gd name="T2" fmla="*/ 114 w 200"/>
                <a:gd name="T3" fmla="*/ 0 h 113"/>
                <a:gd name="T4" fmla="*/ 0 w 200"/>
                <a:gd name="T5" fmla="*/ 0 h 113"/>
                <a:gd name="T6" fmla="*/ 0 w 200"/>
                <a:gd name="T7" fmla="*/ 113 h 113"/>
                <a:gd name="T8" fmla="*/ 200 w 200"/>
                <a:gd name="T9" fmla="*/ 113 h 113"/>
                <a:gd name="T10" fmla="*/ 200 w 200"/>
                <a:gd name="T11" fmla="*/ 87 h 113"/>
              </a:gdLst>
              <a:ahLst/>
              <a:cxnLst>
                <a:cxn ang="0">
                  <a:pos x="T0" y="T1"/>
                </a:cxn>
                <a:cxn ang="0">
                  <a:pos x="T2" y="T3"/>
                </a:cxn>
                <a:cxn ang="0">
                  <a:pos x="T4" y="T5"/>
                </a:cxn>
                <a:cxn ang="0">
                  <a:pos x="T6" y="T7"/>
                </a:cxn>
                <a:cxn ang="0">
                  <a:pos x="T8" y="T9"/>
                </a:cxn>
                <a:cxn ang="0">
                  <a:pos x="T10" y="T11"/>
                </a:cxn>
              </a:cxnLst>
              <a:rect l="0" t="0" r="r" b="b"/>
              <a:pathLst>
                <a:path w="200" h="113">
                  <a:moveTo>
                    <a:pt x="200" y="87"/>
                  </a:moveTo>
                  <a:lnTo>
                    <a:pt x="114" y="0"/>
                  </a:lnTo>
                  <a:lnTo>
                    <a:pt x="0" y="0"/>
                  </a:lnTo>
                  <a:lnTo>
                    <a:pt x="0" y="113"/>
                  </a:lnTo>
                  <a:lnTo>
                    <a:pt x="200" y="113"/>
                  </a:lnTo>
                  <a:lnTo>
                    <a:pt x="200" y="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23"/>
            <p:cNvSpPr>
              <a:spLocks/>
            </p:cNvSpPr>
            <p:nvPr userDrawn="1"/>
          </p:nvSpPr>
          <p:spPr bwMode="auto">
            <a:xfrm>
              <a:off x="5484" y="3996"/>
              <a:ext cx="200" cy="113"/>
            </a:xfrm>
            <a:custGeom>
              <a:avLst/>
              <a:gdLst>
                <a:gd name="T0" fmla="*/ 200 w 200"/>
                <a:gd name="T1" fmla="*/ 87 h 113"/>
                <a:gd name="T2" fmla="*/ 114 w 200"/>
                <a:gd name="T3" fmla="*/ 0 h 113"/>
                <a:gd name="T4" fmla="*/ 0 w 200"/>
                <a:gd name="T5" fmla="*/ 0 h 113"/>
                <a:gd name="T6" fmla="*/ 0 w 200"/>
                <a:gd name="T7" fmla="*/ 113 h 113"/>
                <a:gd name="T8" fmla="*/ 200 w 200"/>
                <a:gd name="T9" fmla="*/ 113 h 113"/>
                <a:gd name="T10" fmla="*/ 200 w 200"/>
                <a:gd name="T11" fmla="*/ 87 h 113"/>
              </a:gdLst>
              <a:ahLst/>
              <a:cxnLst>
                <a:cxn ang="0">
                  <a:pos x="T0" y="T1"/>
                </a:cxn>
                <a:cxn ang="0">
                  <a:pos x="T2" y="T3"/>
                </a:cxn>
                <a:cxn ang="0">
                  <a:pos x="T4" y="T5"/>
                </a:cxn>
                <a:cxn ang="0">
                  <a:pos x="T6" y="T7"/>
                </a:cxn>
                <a:cxn ang="0">
                  <a:pos x="T8" y="T9"/>
                </a:cxn>
                <a:cxn ang="0">
                  <a:pos x="T10" y="T11"/>
                </a:cxn>
              </a:cxnLst>
              <a:rect l="0" t="0" r="r" b="b"/>
              <a:pathLst>
                <a:path w="200" h="113">
                  <a:moveTo>
                    <a:pt x="200" y="87"/>
                  </a:moveTo>
                  <a:lnTo>
                    <a:pt x="114" y="0"/>
                  </a:lnTo>
                  <a:lnTo>
                    <a:pt x="0" y="0"/>
                  </a:lnTo>
                  <a:lnTo>
                    <a:pt x="0" y="113"/>
                  </a:lnTo>
                  <a:lnTo>
                    <a:pt x="200" y="113"/>
                  </a:lnTo>
                  <a:lnTo>
                    <a:pt x="200" y="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Rectangle 24"/>
            <p:cNvSpPr>
              <a:spLocks noChangeArrowheads="1"/>
            </p:cNvSpPr>
            <p:nvPr userDrawn="1"/>
          </p:nvSpPr>
          <p:spPr bwMode="auto">
            <a:xfrm>
              <a:off x="5484" y="3685"/>
              <a:ext cx="53" cy="311"/>
            </a:xfrm>
            <a:prstGeom prst="rect">
              <a:avLst/>
            </a:prstGeom>
            <a:solidFill>
              <a:srgbClr val="0014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Rectangle 25"/>
            <p:cNvSpPr>
              <a:spLocks noChangeArrowheads="1"/>
            </p:cNvSpPr>
            <p:nvPr userDrawn="1"/>
          </p:nvSpPr>
          <p:spPr bwMode="auto">
            <a:xfrm>
              <a:off x="5484" y="3685"/>
              <a:ext cx="53"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Rectangle 26"/>
            <p:cNvSpPr>
              <a:spLocks noChangeArrowheads="1"/>
            </p:cNvSpPr>
            <p:nvPr userDrawn="1"/>
          </p:nvSpPr>
          <p:spPr bwMode="auto">
            <a:xfrm>
              <a:off x="5484" y="3996"/>
              <a:ext cx="53" cy="113"/>
            </a:xfrm>
            <a:prstGeom prst="rect">
              <a:avLst/>
            </a:prstGeom>
            <a:solidFill>
              <a:srgbClr val="001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Rectangle 27"/>
            <p:cNvSpPr>
              <a:spLocks noChangeArrowheads="1"/>
            </p:cNvSpPr>
            <p:nvPr userDrawn="1"/>
          </p:nvSpPr>
          <p:spPr bwMode="auto">
            <a:xfrm>
              <a:off x="5484" y="3996"/>
              <a:ext cx="5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28"/>
            <p:cNvSpPr>
              <a:spLocks/>
            </p:cNvSpPr>
            <p:nvPr userDrawn="1"/>
          </p:nvSpPr>
          <p:spPr bwMode="auto">
            <a:xfrm>
              <a:off x="5540" y="1604"/>
              <a:ext cx="692" cy="437"/>
            </a:xfrm>
            <a:custGeom>
              <a:avLst/>
              <a:gdLst>
                <a:gd name="T0" fmla="*/ 551 w 588"/>
                <a:gd name="T1" fmla="*/ 365 h 371"/>
                <a:gd name="T2" fmla="*/ 482 w 588"/>
                <a:gd name="T3" fmla="*/ 336 h 371"/>
                <a:gd name="T4" fmla="*/ 472 w 588"/>
                <a:gd name="T5" fmla="*/ 267 h 371"/>
                <a:gd name="T6" fmla="*/ 496 w 588"/>
                <a:gd name="T7" fmla="*/ 242 h 371"/>
                <a:gd name="T8" fmla="*/ 522 w 588"/>
                <a:gd name="T9" fmla="*/ 185 h 371"/>
                <a:gd name="T10" fmla="*/ 499 w 588"/>
                <a:gd name="T11" fmla="*/ 157 h 371"/>
                <a:gd name="T12" fmla="*/ 381 w 588"/>
                <a:gd name="T13" fmla="*/ 169 h 371"/>
                <a:gd name="T14" fmla="*/ 254 w 588"/>
                <a:gd name="T15" fmla="*/ 169 h 371"/>
                <a:gd name="T16" fmla="*/ 238 w 588"/>
                <a:gd name="T17" fmla="*/ 130 h 371"/>
                <a:gd name="T18" fmla="*/ 250 w 588"/>
                <a:gd name="T19" fmla="*/ 101 h 371"/>
                <a:gd name="T20" fmla="*/ 253 w 588"/>
                <a:gd name="T21" fmla="*/ 54 h 371"/>
                <a:gd name="T22" fmla="*/ 144 w 588"/>
                <a:gd name="T23" fmla="*/ 52 h 371"/>
                <a:gd name="T24" fmla="*/ 18 w 588"/>
                <a:gd name="T25" fmla="*/ 49 h 371"/>
                <a:gd name="T26" fmla="*/ 1 w 588"/>
                <a:gd name="T27" fmla="*/ 0 h 371"/>
                <a:gd name="T28" fmla="*/ 5 w 588"/>
                <a:gd name="T29" fmla="*/ 0 h 371"/>
                <a:gd name="T30" fmla="*/ 21 w 588"/>
                <a:gd name="T31" fmla="*/ 46 h 371"/>
                <a:gd name="T32" fmla="*/ 144 w 588"/>
                <a:gd name="T33" fmla="*/ 48 h 371"/>
                <a:gd name="T34" fmla="*/ 256 w 588"/>
                <a:gd name="T35" fmla="*/ 52 h 371"/>
                <a:gd name="T36" fmla="*/ 253 w 588"/>
                <a:gd name="T37" fmla="*/ 103 h 371"/>
                <a:gd name="T38" fmla="*/ 242 w 588"/>
                <a:gd name="T39" fmla="*/ 130 h 371"/>
                <a:gd name="T40" fmla="*/ 257 w 588"/>
                <a:gd name="T41" fmla="*/ 166 h 371"/>
                <a:gd name="T42" fmla="*/ 380 w 588"/>
                <a:gd name="T43" fmla="*/ 165 h 371"/>
                <a:gd name="T44" fmla="*/ 501 w 588"/>
                <a:gd name="T45" fmla="*/ 153 h 371"/>
                <a:gd name="T46" fmla="*/ 526 w 588"/>
                <a:gd name="T47" fmla="*/ 183 h 371"/>
                <a:gd name="T48" fmla="*/ 499 w 588"/>
                <a:gd name="T49" fmla="*/ 245 h 371"/>
                <a:gd name="T50" fmla="*/ 476 w 588"/>
                <a:gd name="T51" fmla="*/ 270 h 371"/>
                <a:gd name="T52" fmla="*/ 485 w 588"/>
                <a:gd name="T53" fmla="*/ 333 h 371"/>
                <a:gd name="T54" fmla="*/ 586 w 588"/>
                <a:gd name="T55" fmla="*/ 352 h 371"/>
                <a:gd name="T56" fmla="*/ 588 w 588"/>
                <a:gd name="T57" fmla="*/ 355 h 371"/>
                <a:gd name="T58" fmla="*/ 551 w 588"/>
                <a:gd name="T59" fmla="*/ 36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8" h="371">
                  <a:moveTo>
                    <a:pt x="551" y="365"/>
                  </a:moveTo>
                  <a:cubicBezTo>
                    <a:pt x="525" y="365"/>
                    <a:pt x="499" y="353"/>
                    <a:pt x="482" y="336"/>
                  </a:cubicBezTo>
                  <a:cubicBezTo>
                    <a:pt x="462" y="315"/>
                    <a:pt x="458" y="290"/>
                    <a:pt x="472" y="267"/>
                  </a:cubicBezTo>
                  <a:cubicBezTo>
                    <a:pt x="478" y="258"/>
                    <a:pt x="487" y="250"/>
                    <a:pt x="496" y="242"/>
                  </a:cubicBezTo>
                  <a:cubicBezTo>
                    <a:pt x="514" y="226"/>
                    <a:pt x="531" y="210"/>
                    <a:pt x="522" y="185"/>
                  </a:cubicBezTo>
                  <a:cubicBezTo>
                    <a:pt x="518" y="172"/>
                    <a:pt x="510" y="163"/>
                    <a:pt x="499" y="157"/>
                  </a:cubicBezTo>
                  <a:cubicBezTo>
                    <a:pt x="464" y="140"/>
                    <a:pt x="406" y="160"/>
                    <a:pt x="381" y="169"/>
                  </a:cubicBezTo>
                  <a:cubicBezTo>
                    <a:pt x="347" y="180"/>
                    <a:pt x="284" y="191"/>
                    <a:pt x="254" y="169"/>
                  </a:cubicBezTo>
                  <a:cubicBezTo>
                    <a:pt x="243" y="160"/>
                    <a:pt x="237" y="147"/>
                    <a:pt x="238" y="130"/>
                  </a:cubicBezTo>
                  <a:cubicBezTo>
                    <a:pt x="238" y="120"/>
                    <a:pt x="244" y="110"/>
                    <a:pt x="250" y="101"/>
                  </a:cubicBezTo>
                  <a:cubicBezTo>
                    <a:pt x="259" y="86"/>
                    <a:pt x="267" y="73"/>
                    <a:pt x="253" y="54"/>
                  </a:cubicBezTo>
                  <a:cubicBezTo>
                    <a:pt x="237" y="33"/>
                    <a:pt x="192" y="42"/>
                    <a:pt x="144" y="52"/>
                  </a:cubicBezTo>
                  <a:cubicBezTo>
                    <a:pt x="95" y="61"/>
                    <a:pt x="44" y="72"/>
                    <a:pt x="18" y="49"/>
                  </a:cubicBezTo>
                  <a:cubicBezTo>
                    <a:pt x="6" y="39"/>
                    <a:pt x="0" y="23"/>
                    <a:pt x="1" y="0"/>
                  </a:cubicBezTo>
                  <a:cubicBezTo>
                    <a:pt x="5" y="0"/>
                    <a:pt x="5" y="0"/>
                    <a:pt x="5" y="0"/>
                  </a:cubicBezTo>
                  <a:cubicBezTo>
                    <a:pt x="4" y="22"/>
                    <a:pt x="9" y="37"/>
                    <a:pt x="21" y="46"/>
                  </a:cubicBezTo>
                  <a:cubicBezTo>
                    <a:pt x="45" y="67"/>
                    <a:pt x="95" y="57"/>
                    <a:pt x="144" y="48"/>
                  </a:cubicBezTo>
                  <a:cubicBezTo>
                    <a:pt x="192" y="38"/>
                    <a:pt x="238" y="29"/>
                    <a:pt x="256" y="52"/>
                  </a:cubicBezTo>
                  <a:cubicBezTo>
                    <a:pt x="272" y="72"/>
                    <a:pt x="262" y="88"/>
                    <a:pt x="253" y="103"/>
                  </a:cubicBezTo>
                  <a:cubicBezTo>
                    <a:pt x="248" y="112"/>
                    <a:pt x="242" y="121"/>
                    <a:pt x="242" y="130"/>
                  </a:cubicBezTo>
                  <a:cubicBezTo>
                    <a:pt x="241" y="146"/>
                    <a:pt x="246" y="158"/>
                    <a:pt x="257" y="166"/>
                  </a:cubicBezTo>
                  <a:cubicBezTo>
                    <a:pt x="285" y="186"/>
                    <a:pt x="347" y="176"/>
                    <a:pt x="380" y="165"/>
                  </a:cubicBezTo>
                  <a:cubicBezTo>
                    <a:pt x="405" y="156"/>
                    <a:pt x="465" y="136"/>
                    <a:pt x="501" y="153"/>
                  </a:cubicBezTo>
                  <a:cubicBezTo>
                    <a:pt x="513" y="160"/>
                    <a:pt x="522" y="170"/>
                    <a:pt x="526" y="183"/>
                  </a:cubicBezTo>
                  <a:cubicBezTo>
                    <a:pt x="536" y="212"/>
                    <a:pt x="517" y="228"/>
                    <a:pt x="499" y="245"/>
                  </a:cubicBezTo>
                  <a:cubicBezTo>
                    <a:pt x="490" y="253"/>
                    <a:pt x="481" y="261"/>
                    <a:pt x="476" y="270"/>
                  </a:cubicBezTo>
                  <a:cubicBezTo>
                    <a:pt x="463" y="291"/>
                    <a:pt x="466" y="314"/>
                    <a:pt x="485" y="333"/>
                  </a:cubicBezTo>
                  <a:cubicBezTo>
                    <a:pt x="508" y="357"/>
                    <a:pt x="553" y="371"/>
                    <a:pt x="586" y="352"/>
                  </a:cubicBezTo>
                  <a:cubicBezTo>
                    <a:pt x="588" y="355"/>
                    <a:pt x="588" y="355"/>
                    <a:pt x="588" y="355"/>
                  </a:cubicBezTo>
                  <a:cubicBezTo>
                    <a:pt x="577" y="362"/>
                    <a:pt x="564" y="365"/>
                    <a:pt x="551" y="36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29"/>
            <p:cNvSpPr>
              <a:spLocks noEditPoints="1"/>
            </p:cNvSpPr>
            <p:nvPr userDrawn="1"/>
          </p:nvSpPr>
          <p:spPr bwMode="auto">
            <a:xfrm>
              <a:off x="5329" y="946"/>
              <a:ext cx="431" cy="570"/>
            </a:xfrm>
            <a:custGeom>
              <a:avLst/>
              <a:gdLst>
                <a:gd name="T0" fmla="*/ 367 w 367"/>
                <a:gd name="T1" fmla="*/ 183 h 485"/>
                <a:gd name="T2" fmla="*/ 184 w 367"/>
                <a:gd name="T3" fmla="*/ 0 h 485"/>
                <a:gd name="T4" fmla="*/ 0 w 367"/>
                <a:gd name="T5" fmla="*/ 183 h 485"/>
                <a:gd name="T6" fmla="*/ 81 w 367"/>
                <a:gd name="T7" fmla="*/ 335 h 485"/>
                <a:gd name="T8" fmla="*/ 121 w 367"/>
                <a:gd name="T9" fmla="*/ 459 h 485"/>
                <a:gd name="T10" fmla="*/ 184 w 367"/>
                <a:gd name="T11" fmla="*/ 485 h 485"/>
                <a:gd name="T12" fmla="*/ 184 w 367"/>
                <a:gd name="T13" fmla="*/ 485 h 485"/>
                <a:gd name="T14" fmla="*/ 184 w 367"/>
                <a:gd name="T15" fmla="*/ 485 h 485"/>
                <a:gd name="T16" fmla="*/ 184 w 367"/>
                <a:gd name="T17" fmla="*/ 485 h 485"/>
                <a:gd name="T18" fmla="*/ 184 w 367"/>
                <a:gd name="T19" fmla="*/ 485 h 485"/>
                <a:gd name="T20" fmla="*/ 246 w 367"/>
                <a:gd name="T21" fmla="*/ 459 h 485"/>
                <a:gd name="T22" fmla="*/ 246 w 367"/>
                <a:gd name="T23" fmla="*/ 459 h 485"/>
                <a:gd name="T24" fmla="*/ 246 w 367"/>
                <a:gd name="T25" fmla="*/ 450 h 485"/>
                <a:gd name="T26" fmla="*/ 285 w 367"/>
                <a:gd name="T27" fmla="*/ 335 h 485"/>
                <a:gd name="T28" fmla="*/ 367 w 367"/>
                <a:gd name="T29" fmla="*/ 183 h 485"/>
                <a:gd name="T30" fmla="*/ 184 w 367"/>
                <a:gd name="T31" fmla="*/ 482 h 485"/>
                <a:gd name="T32" fmla="*/ 183 w 367"/>
                <a:gd name="T33" fmla="*/ 459 h 485"/>
                <a:gd name="T34" fmla="*/ 184 w 367"/>
                <a:gd name="T35" fmla="*/ 459 h 485"/>
                <a:gd name="T36" fmla="*/ 184 w 367"/>
                <a:gd name="T37" fmla="*/ 48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7" h="485">
                  <a:moveTo>
                    <a:pt x="367" y="183"/>
                  </a:moveTo>
                  <a:cubicBezTo>
                    <a:pt x="367" y="82"/>
                    <a:pt x="285" y="0"/>
                    <a:pt x="184" y="0"/>
                  </a:cubicBezTo>
                  <a:cubicBezTo>
                    <a:pt x="82" y="0"/>
                    <a:pt x="0" y="82"/>
                    <a:pt x="0" y="183"/>
                  </a:cubicBezTo>
                  <a:cubicBezTo>
                    <a:pt x="0" y="246"/>
                    <a:pt x="33" y="302"/>
                    <a:pt x="81" y="335"/>
                  </a:cubicBezTo>
                  <a:cubicBezTo>
                    <a:pt x="81" y="335"/>
                    <a:pt x="121" y="366"/>
                    <a:pt x="121" y="459"/>
                  </a:cubicBezTo>
                  <a:cubicBezTo>
                    <a:pt x="184" y="485"/>
                    <a:pt x="184" y="485"/>
                    <a:pt x="184" y="485"/>
                  </a:cubicBezTo>
                  <a:cubicBezTo>
                    <a:pt x="184" y="485"/>
                    <a:pt x="184" y="485"/>
                    <a:pt x="184" y="485"/>
                  </a:cubicBezTo>
                  <a:cubicBezTo>
                    <a:pt x="184" y="485"/>
                    <a:pt x="184" y="485"/>
                    <a:pt x="184" y="485"/>
                  </a:cubicBezTo>
                  <a:cubicBezTo>
                    <a:pt x="184" y="485"/>
                    <a:pt x="184" y="485"/>
                    <a:pt x="184" y="485"/>
                  </a:cubicBezTo>
                  <a:cubicBezTo>
                    <a:pt x="184" y="485"/>
                    <a:pt x="184" y="485"/>
                    <a:pt x="184" y="485"/>
                  </a:cubicBezTo>
                  <a:cubicBezTo>
                    <a:pt x="246" y="459"/>
                    <a:pt x="246" y="459"/>
                    <a:pt x="246" y="459"/>
                  </a:cubicBezTo>
                  <a:cubicBezTo>
                    <a:pt x="246" y="459"/>
                    <a:pt x="246" y="459"/>
                    <a:pt x="246" y="459"/>
                  </a:cubicBezTo>
                  <a:cubicBezTo>
                    <a:pt x="246" y="450"/>
                    <a:pt x="246" y="450"/>
                    <a:pt x="246" y="450"/>
                  </a:cubicBezTo>
                  <a:cubicBezTo>
                    <a:pt x="249" y="370"/>
                    <a:pt x="281" y="339"/>
                    <a:pt x="285" y="335"/>
                  </a:cubicBezTo>
                  <a:cubicBezTo>
                    <a:pt x="335" y="303"/>
                    <a:pt x="367" y="247"/>
                    <a:pt x="367" y="183"/>
                  </a:cubicBezTo>
                  <a:close/>
                  <a:moveTo>
                    <a:pt x="184" y="482"/>
                  </a:moveTo>
                  <a:cubicBezTo>
                    <a:pt x="183" y="459"/>
                    <a:pt x="183" y="459"/>
                    <a:pt x="183" y="459"/>
                  </a:cubicBezTo>
                  <a:cubicBezTo>
                    <a:pt x="184" y="459"/>
                    <a:pt x="184" y="459"/>
                    <a:pt x="184" y="459"/>
                  </a:cubicBezTo>
                  <a:lnTo>
                    <a:pt x="184" y="482"/>
                  </a:lnTo>
                  <a:close/>
                </a:path>
              </a:pathLst>
            </a:custGeom>
            <a:solidFill>
              <a:srgbClr val="FAF6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Rectangle 30"/>
            <p:cNvSpPr>
              <a:spLocks noChangeArrowheads="1"/>
            </p:cNvSpPr>
            <p:nvPr userDrawn="1"/>
          </p:nvSpPr>
          <p:spPr bwMode="auto">
            <a:xfrm>
              <a:off x="5473" y="1485"/>
              <a:ext cx="149" cy="99"/>
            </a:xfrm>
            <a:prstGeom prst="rect">
              <a:avLst/>
            </a:prstGeom>
            <a:solidFill>
              <a:srgbClr val="4668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31"/>
            <p:cNvSpPr>
              <a:spLocks/>
            </p:cNvSpPr>
            <p:nvPr userDrawn="1"/>
          </p:nvSpPr>
          <p:spPr bwMode="auto">
            <a:xfrm>
              <a:off x="5473" y="1501"/>
              <a:ext cx="149" cy="28"/>
            </a:xfrm>
            <a:custGeom>
              <a:avLst/>
              <a:gdLst>
                <a:gd name="T0" fmla="*/ 1 w 149"/>
                <a:gd name="T1" fmla="*/ 28 h 28"/>
                <a:gd name="T2" fmla="*/ 0 w 149"/>
                <a:gd name="T3" fmla="*/ 23 h 28"/>
                <a:gd name="T4" fmla="*/ 147 w 149"/>
                <a:gd name="T5" fmla="*/ 0 h 28"/>
                <a:gd name="T6" fmla="*/ 149 w 149"/>
                <a:gd name="T7" fmla="*/ 4 h 28"/>
                <a:gd name="T8" fmla="*/ 1 w 149"/>
                <a:gd name="T9" fmla="*/ 28 h 28"/>
              </a:gdLst>
              <a:ahLst/>
              <a:cxnLst>
                <a:cxn ang="0">
                  <a:pos x="T0" y="T1"/>
                </a:cxn>
                <a:cxn ang="0">
                  <a:pos x="T2" y="T3"/>
                </a:cxn>
                <a:cxn ang="0">
                  <a:pos x="T4" y="T5"/>
                </a:cxn>
                <a:cxn ang="0">
                  <a:pos x="T6" y="T7"/>
                </a:cxn>
                <a:cxn ang="0">
                  <a:pos x="T8" y="T9"/>
                </a:cxn>
              </a:cxnLst>
              <a:rect l="0" t="0" r="r" b="b"/>
              <a:pathLst>
                <a:path w="149" h="28">
                  <a:moveTo>
                    <a:pt x="1" y="28"/>
                  </a:moveTo>
                  <a:lnTo>
                    <a:pt x="0" y="23"/>
                  </a:lnTo>
                  <a:lnTo>
                    <a:pt x="147" y="0"/>
                  </a:lnTo>
                  <a:lnTo>
                    <a:pt x="149" y="4"/>
                  </a:lnTo>
                  <a:lnTo>
                    <a:pt x="1" y="2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32"/>
            <p:cNvSpPr>
              <a:spLocks/>
            </p:cNvSpPr>
            <p:nvPr userDrawn="1"/>
          </p:nvSpPr>
          <p:spPr bwMode="auto">
            <a:xfrm>
              <a:off x="5473" y="1532"/>
              <a:ext cx="149" cy="27"/>
            </a:xfrm>
            <a:custGeom>
              <a:avLst/>
              <a:gdLst>
                <a:gd name="T0" fmla="*/ 1 w 149"/>
                <a:gd name="T1" fmla="*/ 27 h 27"/>
                <a:gd name="T2" fmla="*/ 0 w 149"/>
                <a:gd name="T3" fmla="*/ 23 h 27"/>
                <a:gd name="T4" fmla="*/ 147 w 149"/>
                <a:gd name="T5" fmla="*/ 0 h 27"/>
                <a:gd name="T6" fmla="*/ 149 w 149"/>
                <a:gd name="T7" fmla="*/ 5 h 27"/>
                <a:gd name="T8" fmla="*/ 1 w 149"/>
                <a:gd name="T9" fmla="*/ 27 h 27"/>
              </a:gdLst>
              <a:ahLst/>
              <a:cxnLst>
                <a:cxn ang="0">
                  <a:pos x="T0" y="T1"/>
                </a:cxn>
                <a:cxn ang="0">
                  <a:pos x="T2" y="T3"/>
                </a:cxn>
                <a:cxn ang="0">
                  <a:pos x="T4" y="T5"/>
                </a:cxn>
                <a:cxn ang="0">
                  <a:pos x="T6" y="T7"/>
                </a:cxn>
                <a:cxn ang="0">
                  <a:pos x="T8" y="T9"/>
                </a:cxn>
              </a:cxnLst>
              <a:rect l="0" t="0" r="r" b="b"/>
              <a:pathLst>
                <a:path w="149" h="27">
                  <a:moveTo>
                    <a:pt x="1" y="27"/>
                  </a:moveTo>
                  <a:lnTo>
                    <a:pt x="0" y="23"/>
                  </a:lnTo>
                  <a:lnTo>
                    <a:pt x="147" y="0"/>
                  </a:lnTo>
                  <a:lnTo>
                    <a:pt x="149" y="5"/>
                  </a:lnTo>
                  <a:lnTo>
                    <a:pt x="1" y="2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33"/>
            <p:cNvSpPr>
              <a:spLocks/>
            </p:cNvSpPr>
            <p:nvPr userDrawn="1"/>
          </p:nvSpPr>
          <p:spPr bwMode="auto">
            <a:xfrm>
              <a:off x="5473" y="1558"/>
              <a:ext cx="149" cy="29"/>
            </a:xfrm>
            <a:custGeom>
              <a:avLst/>
              <a:gdLst>
                <a:gd name="T0" fmla="*/ 1 w 149"/>
                <a:gd name="T1" fmla="*/ 29 h 29"/>
                <a:gd name="T2" fmla="*/ 0 w 149"/>
                <a:gd name="T3" fmla="*/ 24 h 29"/>
                <a:gd name="T4" fmla="*/ 147 w 149"/>
                <a:gd name="T5" fmla="*/ 0 h 29"/>
                <a:gd name="T6" fmla="*/ 149 w 149"/>
                <a:gd name="T7" fmla="*/ 5 h 29"/>
                <a:gd name="T8" fmla="*/ 1 w 149"/>
                <a:gd name="T9" fmla="*/ 29 h 29"/>
              </a:gdLst>
              <a:ahLst/>
              <a:cxnLst>
                <a:cxn ang="0">
                  <a:pos x="T0" y="T1"/>
                </a:cxn>
                <a:cxn ang="0">
                  <a:pos x="T2" y="T3"/>
                </a:cxn>
                <a:cxn ang="0">
                  <a:pos x="T4" y="T5"/>
                </a:cxn>
                <a:cxn ang="0">
                  <a:pos x="T6" y="T7"/>
                </a:cxn>
                <a:cxn ang="0">
                  <a:pos x="T8" y="T9"/>
                </a:cxn>
              </a:cxnLst>
              <a:rect l="0" t="0" r="r" b="b"/>
              <a:pathLst>
                <a:path w="149" h="29">
                  <a:moveTo>
                    <a:pt x="1" y="29"/>
                  </a:moveTo>
                  <a:lnTo>
                    <a:pt x="0" y="24"/>
                  </a:lnTo>
                  <a:lnTo>
                    <a:pt x="147" y="0"/>
                  </a:lnTo>
                  <a:lnTo>
                    <a:pt x="149" y="5"/>
                  </a:lnTo>
                  <a:lnTo>
                    <a:pt x="1" y="2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4" name="Freeform 34"/>
            <p:cNvSpPr>
              <a:spLocks/>
            </p:cNvSpPr>
            <p:nvPr userDrawn="1"/>
          </p:nvSpPr>
          <p:spPr bwMode="auto">
            <a:xfrm>
              <a:off x="5509" y="1584"/>
              <a:ext cx="76" cy="26"/>
            </a:xfrm>
            <a:custGeom>
              <a:avLst/>
              <a:gdLst>
                <a:gd name="T0" fmla="*/ 0 w 76"/>
                <a:gd name="T1" fmla="*/ 0 h 26"/>
                <a:gd name="T2" fmla="*/ 11 w 76"/>
                <a:gd name="T3" fmla="*/ 26 h 26"/>
                <a:gd name="T4" fmla="*/ 64 w 76"/>
                <a:gd name="T5" fmla="*/ 26 h 26"/>
                <a:gd name="T6" fmla="*/ 76 w 76"/>
                <a:gd name="T7" fmla="*/ 0 h 26"/>
                <a:gd name="T8" fmla="*/ 0 w 76"/>
                <a:gd name="T9" fmla="*/ 0 h 26"/>
              </a:gdLst>
              <a:ahLst/>
              <a:cxnLst>
                <a:cxn ang="0">
                  <a:pos x="T0" y="T1"/>
                </a:cxn>
                <a:cxn ang="0">
                  <a:pos x="T2" y="T3"/>
                </a:cxn>
                <a:cxn ang="0">
                  <a:pos x="T4" y="T5"/>
                </a:cxn>
                <a:cxn ang="0">
                  <a:pos x="T6" y="T7"/>
                </a:cxn>
                <a:cxn ang="0">
                  <a:pos x="T8" y="T9"/>
                </a:cxn>
              </a:cxnLst>
              <a:rect l="0" t="0" r="r" b="b"/>
              <a:pathLst>
                <a:path w="76" h="26">
                  <a:moveTo>
                    <a:pt x="0" y="0"/>
                  </a:moveTo>
                  <a:lnTo>
                    <a:pt x="11" y="26"/>
                  </a:lnTo>
                  <a:lnTo>
                    <a:pt x="64" y="26"/>
                  </a:lnTo>
                  <a:lnTo>
                    <a:pt x="76"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5" name="Freeform 35"/>
            <p:cNvSpPr>
              <a:spLocks/>
            </p:cNvSpPr>
            <p:nvPr userDrawn="1"/>
          </p:nvSpPr>
          <p:spPr bwMode="auto">
            <a:xfrm>
              <a:off x="6102" y="1962"/>
              <a:ext cx="85" cy="88"/>
            </a:xfrm>
            <a:custGeom>
              <a:avLst/>
              <a:gdLst>
                <a:gd name="T0" fmla="*/ 73 w 73"/>
                <a:gd name="T1" fmla="*/ 41 h 75"/>
                <a:gd name="T2" fmla="*/ 32 w 73"/>
                <a:gd name="T3" fmla="*/ 0 h 75"/>
                <a:gd name="T4" fmla="*/ 12 w 73"/>
                <a:gd name="T5" fmla="*/ 6 h 75"/>
                <a:gd name="T6" fmla="*/ 15 w 73"/>
                <a:gd name="T7" fmla="*/ 59 h 75"/>
                <a:gd name="T8" fmla="*/ 73 w 73"/>
                <a:gd name="T9" fmla="*/ 60 h 75"/>
                <a:gd name="T10" fmla="*/ 73 w 73"/>
                <a:gd name="T11" fmla="*/ 43 h 75"/>
                <a:gd name="T12" fmla="*/ 73 w 73"/>
                <a:gd name="T13" fmla="*/ 43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9"/>
                    <a:pt x="55" y="0"/>
                    <a:pt x="32" y="0"/>
                  </a:cubicBezTo>
                  <a:cubicBezTo>
                    <a:pt x="25" y="0"/>
                    <a:pt x="18" y="2"/>
                    <a:pt x="12" y="6"/>
                  </a:cubicBezTo>
                  <a:cubicBezTo>
                    <a:pt x="0" y="22"/>
                    <a:pt x="1" y="45"/>
                    <a:pt x="15" y="59"/>
                  </a:cubicBezTo>
                  <a:cubicBezTo>
                    <a:pt x="31" y="75"/>
                    <a:pt x="57" y="75"/>
                    <a:pt x="73" y="60"/>
                  </a:cubicBezTo>
                  <a:cubicBezTo>
                    <a:pt x="73" y="43"/>
                    <a:pt x="73" y="43"/>
                    <a:pt x="73" y="43"/>
                  </a:cubicBezTo>
                  <a:cubicBezTo>
                    <a:pt x="73" y="43"/>
                    <a:pt x="73" y="43"/>
                    <a:pt x="73" y="43"/>
                  </a:cubicBezTo>
                  <a:cubicBezTo>
                    <a:pt x="73" y="43"/>
                    <a:pt x="73" y="42"/>
                    <a:pt x="73" y="41"/>
                  </a:cubicBez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6" name="Freeform 36"/>
            <p:cNvSpPr>
              <a:spLocks/>
            </p:cNvSpPr>
            <p:nvPr userDrawn="1"/>
          </p:nvSpPr>
          <p:spPr bwMode="auto">
            <a:xfrm>
              <a:off x="6102" y="1962"/>
              <a:ext cx="85" cy="88"/>
            </a:xfrm>
            <a:custGeom>
              <a:avLst/>
              <a:gdLst>
                <a:gd name="T0" fmla="*/ 73 w 73"/>
                <a:gd name="T1" fmla="*/ 41 h 75"/>
                <a:gd name="T2" fmla="*/ 32 w 73"/>
                <a:gd name="T3" fmla="*/ 0 h 75"/>
                <a:gd name="T4" fmla="*/ 12 w 73"/>
                <a:gd name="T5" fmla="*/ 6 h 75"/>
                <a:gd name="T6" fmla="*/ 15 w 73"/>
                <a:gd name="T7" fmla="*/ 59 h 75"/>
                <a:gd name="T8" fmla="*/ 73 w 73"/>
                <a:gd name="T9" fmla="*/ 60 h 75"/>
                <a:gd name="T10" fmla="*/ 73 w 73"/>
                <a:gd name="T11" fmla="*/ 43 h 75"/>
                <a:gd name="T12" fmla="*/ 73 w 73"/>
                <a:gd name="T13" fmla="*/ 43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9"/>
                    <a:pt x="55" y="0"/>
                    <a:pt x="32" y="0"/>
                  </a:cubicBezTo>
                  <a:cubicBezTo>
                    <a:pt x="25" y="0"/>
                    <a:pt x="18" y="2"/>
                    <a:pt x="12" y="6"/>
                  </a:cubicBezTo>
                  <a:cubicBezTo>
                    <a:pt x="0" y="22"/>
                    <a:pt x="1" y="45"/>
                    <a:pt x="15" y="59"/>
                  </a:cubicBezTo>
                  <a:cubicBezTo>
                    <a:pt x="31" y="75"/>
                    <a:pt x="57" y="75"/>
                    <a:pt x="73" y="60"/>
                  </a:cubicBezTo>
                  <a:cubicBezTo>
                    <a:pt x="73" y="43"/>
                    <a:pt x="73" y="43"/>
                    <a:pt x="73" y="43"/>
                  </a:cubicBezTo>
                  <a:cubicBezTo>
                    <a:pt x="73" y="43"/>
                    <a:pt x="73" y="43"/>
                    <a:pt x="73" y="43"/>
                  </a:cubicBezTo>
                  <a:cubicBezTo>
                    <a:pt x="73" y="43"/>
                    <a:pt x="73" y="42"/>
                    <a:pt x="73" y="4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37"/>
            <p:cNvSpPr>
              <a:spLocks/>
            </p:cNvSpPr>
            <p:nvPr userDrawn="1"/>
          </p:nvSpPr>
          <p:spPr bwMode="auto">
            <a:xfrm>
              <a:off x="5407" y="2680"/>
              <a:ext cx="409" cy="614"/>
            </a:xfrm>
            <a:custGeom>
              <a:avLst/>
              <a:gdLst>
                <a:gd name="T0" fmla="*/ 0 w 347"/>
                <a:gd name="T1" fmla="*/ 0 h 522"/>
                <a:gd name="T2" fmla="*/ 0 w 347"/>
                <a:gd name="T3" fmla="*/ 522 h 522"/>
                <a:gd name="T4" fmla="*/ 65 w 347"/>
                <a:gd name="T5" fmla="*/ 522 h 522"/>
                <a:gd name="T6" fmla="*/ 65 w 347"/>
                <a:gd name="T7" fmla="*/ 494 h 522"/>
                <a:gd name="T8" fmla="*/ 161 w 347"/>
                <a:gd name="T9" fmla="*/ 494 h 522"/>
                <a:gd name="T10" fmla="*/ 161 w 347"/>
                <a:gd name="T11" fmla="*/ 522 h 522"/>
                <a:gd name="T12" fmla="*/ 189 w 347"/>
                <a:gd name="T13" fmla="*/ 522 h 522"/>
                <a:gd name="T14" fmla="*/ 189 w 347"/>
                <a:gd name="T15" fmla="*/ 522 h 522"/>
                <a:gd name="T16" fmla="*/ 214 w 347"/>
                <a:gd name="T17" fmla="*/ 522 h 522"/>
                <a:gd name="T18" fmla="*/ 214 w 347"/>
                <a:gd name="T19" fmla="*/ 494 h 522"/>
                <a:gd name="T20" fmla="*/ 310 w 347"/>
                <a:gd name="T21" fmla="*/ 494 h 522"/>
                <a:gd name="T22" fmla="*/ 310 w 347"/>
                <a:gd name="T23" fmla="*/ 522 h 522"/>
                <a:gd name="T24" fmla="*/ 347 w 347"/>
                <a:gd name="T25" fmla="*/ 522 h 522"/>
                <a:gd name="T26" fmla="*/ 347 w 347"/>
                <a:gd name="T27" fmla="*/ 464 h 522"/>
                <a:gd name="T28" fmla="*/ 347 w 347"/>
                <a:gd name="T29" fmla="*/ 464 h 522"/>
                <a:gd name="T30" fmla="*/ 331 w 347"/>
                <a:gd name="T31" fmla="*/ 298 h 522"/>
                <a:gd name="T32" fmla="*/ 0 w 347"/>
                <a:gd name="T3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522">
                  <a:moveTo>
                    <a:pt x="0" y="0"/>
                  </a:moveTo>
                  <a:cubicBezTo>
                    <a:pt x="0" y="522"/>
                    <a:pt x="0" y="522"/>
                    <a:pt x="0" y="522"/>
                  </a:cubicBezTo>
                  <a:cubicBezTo>
                    <a:pt x="65" y="522"/>
                    <a:pt x="65" y="522"/>
                    <a:pt x="65" y="522"/>
                  </a:cubicBezTo>
                  <a:cubicBezTo>
                    <a:pt x="65" y="494"/>
                    <a:pt x="65" y="494"/>
                    <a:pt x="65" y="494"/>
                  </a:cubicBezTo>
                  <a:cubicBezTo>
                    <a:pt x="161" y="494"/>
                    <a:pt x="161" y="494"/>
                    <a:pt x="161" y="494"/>
                  </a:cubicBezTo>
                  <a:cubicBezTo>
                    <a:pt x="161" y="522"/>
                    <a:pt x="161" y="522"/>
                    <a:pt x="161" y="522"/>
                  </a:cubicBezTo>
                  <a:cubicBezTo>
                    <a:pt x="189" y="522"/>
                    <a:pt x="189" y="522"/>
                    <a:pt x="189" y="522"/>
                  </a:cubicBezTo>
                  <a:cubicBezTo>
                    <a:pt x="189" y="522"/>
                    <a:pt x="189" y="522"/>
                    <a:pt x="189" y="522"/>
                  </a:cubicBezTo>
                  <a:cubicBezTo>
                    <a:pt x="214" y="522"/>
                    <a:pt x="214" y="522"/>
                    <a:pt x="214" y="522"/>
                  </a:cubicBezTo>
                  <a:cubicBezTo>
                    <a:pt x="214" y="494"/>
                    <a:pt x="214" y="494"/>
                    <a:pt x="214" y="494"/>
                  </a:cubicBezTo>
                  <a:cubicBezTo>
                    <a:pt x="310" y="494"/>
                    <a:pt x="310" y="494"/>
                    <a:pt x="310" y="494"/>
                  </a:cubicBezTo>
                  <a:cubicBezTo>
                    <a:pt x="310" y="522"/>
                    <a:pt x="310" y="522"/>
                    <a:pt x="310" y="522"/>
                  </a:cubicBezTo>
                  <a:cubicBezTo>
                    <a:pt x="347" y="522"/>
                    <a:pt x="347" y="522"/>
                    <a:pt x="347" y="522"/>
                  </a:cubicBezTo>
                  <a:cubicBezTo>
                    <a:pt x="347" y="464"/>
                    <a:pt x="347" y="464"/>
                    <a:pt x="347" y="464"/>
                  </a:cubicBezTo>
                  <a:cubicBezTo>
                    <a:pt x="347" y="464"/>
                    <a:pt x="347" y="464"/>
                    <a:pt x="347" y="464"/>
                  </a:cubicBezTo>
                  <a:cubicBezTo>
                    <a:pt x="345" y="412"/>
                    <a:pt x="341" y="352"/>
                    <a:pt x="331" y="298"/>
                  </a:cubicBezTo>
                  <a:cubicBezTo>
                    <a:pt x="0" y="0"/>
                    <a:pt x="0" y="0"/>
                    <a:pt x="0" y="0"/>
                  </a:cubicBezTo>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8" name="Rectangle 38"/>
            <p:cNvSpPr>
              <a:spLocks noChangeArrowheads="1"/>
            </p:cNvSpPr>
            <p:nvPr userDrawn="1"/>
          </p:nvSpPr>
          <p:spPr bwMode="auto">
            <a:xfrm>
              <a:off x="5659" y="3261"/>
              <a:ext cx="113" cy="33"/>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9" name="Rectangle 39"/>
            <p:cNvSpPr>
              <a:spLocks noChangeArrowheads="1"/>
            </p:cNvSpPr>
            <p:nvPr userDrawn="1"/>
          </p:nvSpPr>
          <p:spPr bwMode="auto">
            <a:xfrm>
              <a:off x="5659" y="3261"/>
              <a:ext cx="11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0" name="Freeform 40"/>
            <p:cNvSpPr>
              <a:spLocks/>
            </p:cNvSpPr>
            <p:nvPr userDrawn="1"/>
          </p:nvSpPr>
          <p:spPr bwMode="auto">
            <a:xfrm>
              <a:off x="5484" y="3261"/>
              <a:ext cx="113" cy="33"/>
            </a:xfrm>
            <a:custGeom>
              <a:avLst/>
              <a:gdLst>
                <a:gd name="T0" fmla="*/ 113 w 113"/>
                <a:gd name="T1" fmla="*/ 0 h 33"/>
                <a:gd name="T2" fmla="*/ 0 w 113"/>
                <a:gd name="T3" fmla="*/ 0 h 33"/>
                <a:gd name="T4" fmla="*/ 0 w 113"/>
                <a:gd name="T5" fmla="*/ 33 h 33"/>
                <a:gd name="T6" fmla="*/ 33 w 113"/>
                <a:gd name="T7" fmla="*/ 33 h 33"/>
                <a:gd name="T8" fmla="*/ 113 w 113"/>
                <a:gd name="T9" fmla="*/ 33 h 33"/>
                <a:gd name="T10" fmla="*/ 113 w 113"/>
                <a:gd name="T11" fmla="*/ 0 h 33"/>
              </a:gdLst>
              <a:ahLst/>
              <a:cxnLst>
                <a:cxn ang="0">
                  <a:pos x="T0" y="T1"/>
                </a:cxn>
                <a:cxn ang="0">
                  <a:pos x="T2" y="T3"/>
                </a:cxn>
                <a:cxn ang="0">
                  <a:pos x="T4" y="T5"/>
                </a:cxn>
                <a:cxn ang="0">
                  <a:pos x="T6" y="T7"/>
                </a:cxn>
                <a:cxn ang="0">
                  <a:pos x="T8" y="T9"/>
                </a:cxn>
                <a:cxn ang="0">
                  <a:pos x="T10" y="T11"/>
                </a:cxn>
              </a:cxnLst>
              <a:rect l="0" t="0" r="r" b="b"/>
              <a:pathLst>
                <a:path w="113" h="33">
                  <a:moveTo>
                    <a:pt x="113" y="0"/>
                  </a:moveTo>
                  <a:lnTo>
                    <a:pt x="0" y="0"/>
                  </a:lnTo>
                  <a:lnTo>
                    <a:pt x="0" y="33"/>
                  </a:lnTo>
                  <a:lnTo>
                    <a:pt x="33" y="33"/>
                  </a:lnTo>
                  <a:lnTo>
                    <a:pt x="113" y="33"/>
                  </a:lnTo>
                  <a:lnTo>
                    <a:pt x="113" y="0"/>
                  </a:lnTo>
                  <a:close/>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41"/>
            <p:cNvSpPr>
              <a:spLocks/>
            </p:cNvSpPr>
            <p:nvPr userDrawn="1"/>
          </p:nvSpPr>
          <p:spPr bwMode="auto">
            <a:xfrm>
              <a:off x="5484" y="3261"/>
              <a:ext cx="113" cy="33"/>
            </a:xfrm>
            <a:custGeom>
              <a:avLst/>
              <a:gdLst>
                <a:gd name="T0" fmla="*/ 113 w 113"/>
                <a:gd name="T1" fmla="*/ 0 h 33"/>
                <a:gd name="T2" fmla="*/ 0 w 113"/>
                <a:gd name="T3" fmla="*/ 0 h 33"/>
                <a:gd name="T4" fmla="*/ 0 w 113"/>
                <a:gd name="T5" fmla="*/ 33 h 33"/>
                <a:gd name="T6" fmla="*/ 33 w 113"/>
                <a:gd name="T7" fmla="*/ 33 h 33"/>
                <a:gd name="T8" fmla="*/ 113 w 113"/>
                <a:gd name="T9" fmla="*/ 33 h 33"/>
                <a:gd name="T10" fmla="*/ 113 w 113"/>
                <a:gd name="T11" fmla="*/ 0 h 33"/>
              </a:gdLst>
              <a:ahLst/>
              <a:cxnLst>
                <a:cxn ang="0">
                  <a:pos x="T0" y="T1"/>
                </a:cxn>
                <a:cxn ang="0">
                  <a:pos x="T2" y="T3"/>
                </a:cxn>
                <a:cxn ang="0">
                  <a:pos x="T4" y="T5"/>
                </a:cxn>
                <a:cxn ang="0">
                  <a:pos x="T6" y="T7"/>
                </a:cxn>
                <a:cxn ang="0">
                  <a:pos x="T8" y="T9"/>
                </a:cxn>
                <a:cxn ang="0">
                  <a:pos x="T10" y="T11"/>
                </a:cxn>
              </a:cxnLst>
              <a:rect l="0" t="0" r="r" b="b"/>
              <a:pathLst>
                <a:path w="113" h="33">
                  <a:moveTo>
                    <a:pt x="113" y="0"/>
                  </a:moveTo>
                  <a:lnTo>
                    <a:pt x="0" y="0"/>
                  </a:lnTo>
                  <a:lnTo>
                    <a:pt x="0" y="33"/>
                  </a:lnTo>
                  <a:lnTo>
                    <a:pt x="33" y="33"/>
                  </a:lnTo>
                  <a:lnTo>
                    <a:pt x="113" y="33"/>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42"/>
            <p:cNvSpPr>
              <a:spLocks/>
            </p:cNvSpPr>
            <p:nvPr userDrawn="1"/>
          </p:nvSpPr>
          <p:spPr bwMode="auto">
            <a:xfrm>
              <a:off x="5605" y="2483"/>
              <a:ext cx="73" cy="266"/>
            </a:xfrm>
            <a:custGeom>
              <a:avLst/>
              <a:gdLst>
                <a:gd name="T0" fmla="*/ 0 w 73"/>
                <a:gd name="T1" fmla="*/ 0 h 266"/>
                <a:gd name="T2" fmla="*/ 38 w 73"/>
                <a:gd name="T3" fmla="*/ 266 h 266"/>
                <a:gd name="T4" fmla="*/ 73 w 73"/>
                <a:gd name="T5" fmla="*/ 0 h 266"/>
                <a:gd name="T6" fmla="*/ 0 w 73"/>
                <a:gd name="T7" fmla="*/ 0 h 266"/>
              </a:gdLst>
              <a:ahLst/>
              <a:cxnLst>
                <a:cxn ang="0">
                  <a:pos x="T0" y="T1"/>
                </a:cxn>
                <a:cxn ang="0">
                  <a:pos x="T2" y="T3"/>
                </a:cxn>
                <a:cxn ang="0">
                  <a:pos x="T4" y="T5"/>
                </a:cxn>
                <a:cxn ang="0">
                  <a:pos x="T6" y="T7"/>
                </a:cxn>
              </a:cxnLst>
              <a:rect l="0" t="0" r="r" b="b"/>
              <a:pathLst>
                <a:path w="73" h="266">
                  <a:moveTo>
                    <a:pt x="0" y="0"/>
                  </a:moveTo>
                  <a:lnTo>
                    <a:pt x="38" y="266"/>
                  </a:lnTo>
                  <a:lnTo>
                    <a:pt x="7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43"/>
            <p:cNvSpPr>
              <a:spLocks/>
            </p:cNvSpPr>
            <p:nvPr userDrawn="1"/>
          </p:nvSpPr>
          <p:spPr bwMode="auto">
            <a:xfrm>
              <a:off x="5605" y="2483"/>
              <a:ext cx="73" cy="266"/>
            </a:xfrm>
            <a:custGeom>
              <a:avLst/>
              <a:gdLst>
                <a:gd name="T0" fmla="*/ 0 w 73"/>
                <a:gd name="T1" fmla="*/ 0 h 266"/>
                <a:gd name="T2" fmla="*/ 38 w 73"/>
                <a:gd name="T3" fmla="*/ 266 h 266"/>
                <a:gd name="T4" fmla="*/ 73 w 73"/>
                <a:gd name="T5" fmla="*/ 0 h 266"/>
                <a:gd name="T6" fmla="*/ 0 w 73"/>
                <a:gd name="T7" fmla="*/ 0 h 266"/>
              </a:gdLst>
              <a:ahLst/>
              <a:cxnLst>
                <a:cxn ang="0">
                  <a:pos x="T0" y="T1"/>
                </a:cxn>
                <a:cxn ang="0">
                  <a:pos x="T2" y="T3"/>
                </a:cxn>
                <a:cxn ang="0">
                  <a:pos x="T4" y="T5"/>
                </a:cxn>
                <a:cxn ang="0">
                  <a:pos x="T6" y="T7"/>
                </a:cxn>
              </a:cxnLst>
              <a:rect l="0" t="0" r="r" b="b"/>
              <a:pathLst>
                <a:path w="73" h="266">
                  <a:moveTo>
                    <a:pt x="0" y="0"/>
                  </a:moveTo>
                  <a:lnTo>
                    <a:pt x="38" y="266"/>
                  </a:lnTo>
                  <a:lnTo>
                    <a:pt x="7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4" name="Freeform 44"/>
            <p:cNvSpPr>
              <a:spLocks/>
            </p:cNvSpPr>
            <p:nvPr userDrawn="1"/>
          </p:nvSpPr>
          <p:spPr bwMode="auto">
            <a:xfrm>
              <a:off x="5605" y="2483"/>
              <a:ext cx="73" cy="266"/>
            </a:xfrm>
            <a:custGeom>
              <a:avLst/>
              <a:gdLst>
                <a:gd name="T0" fmla="*/ 73 w 73"/>
                <a:gd name="T1" fmla="*/ 0 h 266"/>
                <a:gd name="T2" fmla="*/ 0 w 73"/>
                <a:gd name="T3" fmla="*/ 0 h 266"/>
                <a:gd name="T4" fmla="*/ 38 w 73"/>
                <a:gd name="T5" fmla="*/ 266 h 266"/>
                <a:gd name="T6" fmla="*/ 73 w 73"/>
                <a:gd name="T7" fmla="*/ 0 h 266"/>
              </a:gdLst>
              <a:ahLst/>
              <a:cxnLst>
                <a:cxn ang="0">
                  <a:pos x="T0" y="T1"/>
                </a:cxn>
                <a:cxn ang="0">
                  <a:pos x="T2" y="T3"/>
                </a:cxn>
                <a:cxn ang="0">
                  <a:pos x="T4" y="T5"/>
                </a:cxn>
                <a:cxn ang="0">
                  <a:pos x="T6" y="T7"/>
                </a:cxn>
              </a:cxnLst>
              <a:rect l="0" t="0" r="r" b="b"/>
              <a:pathLst>
                <a:path w="73" h="266">
                  <a:moveTo>
                    <a:pt x="73" y="0"/>
                  </a:moveTo>
                  <a:lnTo>
                    <a:pt x="0" y="0"/>
                  </a:lnTo>
                  <a:lnTo>
                    <a:pt x="38" y="266"/>
                  </a:lnTo>
                  <a:lnTo>
                    <a:pt x="73"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5" name="Freeform 45"/>
            <p:cNvSpPr>
              <a:spLocks/>
            </p:cNvSpPr>
            <p:nvPr userDrawn="1"/>
          </p:nvSpPr>
          <p:spPr bwMode="auto">
            <a:xfrm>
              <a:off x="5605" y="2483"/>
              <a:ext cx="73" cy="266"/>
            </a:xfrm>
            <a:custGeom>
              <a:avLst/>
              <a:gdLst>
                <a:gd name="T0" fmla="*/ 73 w 73"/>
                <a:gd name="T1" fmla="*/ 0 h 266"/>
                <a:gd name="T2" fmla="*/ 0 w 73"/>
                <a:gd name="T3" fmla="*/ 0 h 266"/>
                <a:gd name="T4" fmla="*/ 38 w 73"/>
                <a:gd name="T5" fmla="*/ 266 h 266"/>
                <a:gd name="T6" fmla="*/ 73 w 73"/>
                <a:gd name="T7" fmla="*/ 0 h 266"/>
              </a:gdLst>
              <a:ahLst/>
              <a:cxnLst>
                <a:cxn ang="0">
                  <a:pos x="T0" y="T1"/>
                </a:cxn>
                <a:cxn ang="0">
                  <a:pos x="T2" y="T3"/>
                </a:cxn>
                <a:cxn ang="0">
                  <a:pos x="T4" y="T5"/>
                </a:cxn>
                <a:cxn ang="0">
                  <a:pos x="T6" y="T7"/>
                </a:cxn>
              </a:cxnLst>
              <a:rect l="0" t="0" r="r" b="b"/>
              <a:pathLst>
                <a:path w="73" h="266">
                  <a:moveTo>
                    <a:pt x="73" y="0"/>
                  </a:moveTo>
                  <a:lnTo>
                    <a:pt x="0" y="0"/>
                  </a:lnTo>
                  <a:lnTo>
                    <a:pt x="38" y="266"/>
                  </a:lnTo>
                  <a:lnTo>
                    <a:pt x="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6" name="Freeform 46"/>
            <p:cNvSpPr>
              <a:spLocks/>
            </p:cNvSpPr>
            <p:nvPr userDrawn="1"/>
          </p:nvSpPr>
          <p:spPr bwMode="auto">
            <a:xfrm>
              <a:off x="5605" y="2328"/>
              <a:ext cx="106" cy="156"/>
            </a:xfrm>
            <a:custGeom>
              <a:avLst/>
              <a:gdLst>
                <a:gd name="T0" fmla="*/ 61 w 90"/>
                <a:gd name="T1" fmla="*/ 0 h 133"/>
                <a:gd name="T2" fmla="*/ 52 w 90"/>
                <a:gd name="T3" fmla="*/ 24 h 133"/>
                <a:gd name="T4" fmla="*/ 0 w 90"/>
                <a:gd name="T5" fmla="*/ 24 h 133"/>
                <a:gd name="T6" fmla="*/ 0 w 90"/>
                <a:gd name="T7" fmla="*/ 109 h 133"/>
                <a:gd name="T8" fmla="*/ 31 w 90"/>
                <a:gd name="T9" fmla="*/ 133 h 133"/>
                <a:gd name="T10" fmla="*/ 62 w 90"/>
                <a:gd name="T11" fmla="*/ 109 h 133"/>
                <a:gd name="T12" fmla="*/ 62 w 90"/>
                <a:gd name="T13" fmla="*/ 61 h 133"/>
                <a:gd name="T14" fmla="*/ 90 w 90"/>
                <a:gd name="T15" fmla="*/ 8 h 133"/>
                <a:gd name="T16" fmla="*/ 61 w 90"/>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33">
                  <a:moveTo>
                    <a:pt x="61" y="0"/>
                  </a:moveTo>
                  <a:cubicBezTo>
                    <a:pt x="52" y="24"/>
                    <a:pt x="52" y="24"/>
                    <a:pt x="52" y="24"/>
                  </a:cubicBezTo>
                  <a:cubicBezTo>
                    <a:pt x="0" y="24"/>
                    <a:pt x="0" y="24"/>
                    <a:pt x="0" y="24"/>
                  </a:cubicBezTo>
                  <a:cubicBezTo>
                    <a:pt x="0" y="109"/>
                    <a:pt x="0" y="109"/>
                    <a:pt x="0" y="109"/>
                  </a:cubicBezTo>
                  <a:cubicBezTo>
                    <a:pt x="31" y="133"/>
                    <a:pt x="31" y="133"/>
                    <a:pt x="31" y="133"/>
                  </a:cubicBezTo>
                  <a:cubicBezTo>
                    <a:pt x="62" y="109"/>
                    <a:pt x="62" y="109"/>
                    <a:pt x="62" y="109"/>
                  </a:cubicBezTo>
                  <a:cubicBezTo>
                    <a:pt x="62" y="61"/>
                    <a:pt x="62" y="61"/>
                    <a:pt x="62" y="61"/>
                  </a:cubicBezTo>
                  <a:cubicBezTo>
                    <a:pt x="63" y="45"/>
                    <a:pt x="68" y="15"/>
                    <a:pt x="90" y="8"/>
                  </a:cubicBezTo>
                  <a:lnTo>
                    <a:pt x="61"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7" name="Freeform 47"/>
            <p:cNvSpPr>
              <a:spLocks/>
            </p:cNvSpPr>
            <p:nvPr userDrawn="1"/>
          </p:nvSpPr>
          <p:spPr bwMode="auto">
            <a:xfrm>
              <a:off x="5624" y="2483"/>
              <a:ext cx="35" cy="50"/>
            </a:xfrm>
            <a:custGeom>
              <a:avLst/>
              <a:gdLst>
                <a:gd name="T0" fmla="*/ 0 w 35"/>
                <a:gd name="T1" fmla="*/ 32 h 50"/>
                <a:gd name="T2" fmla="*/ 5 w 35"/>
                <a:gd name="T3" fmla="*/ 50 h 50"/>
                <a:gd name="T4" fmla="*/ 28 w 35"/>
                <a:gd name="T5" fmla="*/ 50 h 50"/>
                <a:gd name="T6" fmla="*/ 35 w 35"/>
                <a:gd name="T7" fmla="*/ 23 h 50"/>
                <a:gd name="T8" fmla="*/ 16 w 35"/>
                <a:gd name="T9" fmla="*/ 0 h 50"/>
                <a:gd name="T10" fmla="*/ 0 w 35"/>
                <a:gd name="T11" fmla="*/ 32 h 50"/>
              </a:gdLst>
              <a:ahLst/>
              <a:cxnLst>
                <a:cxn ang="0">
                  <a:pos x="T0" y="T1"/>
                </a:cxn>
                <a:cxn ang="0">
                  <a:pos x="T2" y="T3"/>
                </a:cxn>
                <a:cxn ang="0">
                  <a:pos x="T4" y="T5"/>
                </a:cxn>
                <a:cxn ang="0">
                  <a:pos x="T6" y="T7"/>
                </a:cxn>
                <a:cxn ang="0">
                  <a:pos x="T8" y="T9"/>
                </a:cxn>
                <a:cxn ang="0">
                  <a:pos x="T10" y="T11"/>
                </a:cxn>
              </a:cxnLst>
              <a:rect l="0" t="0" r="r" b="b"/>
              <a:pathLst>
                <a:path w="35" h="50">
                  <a:moveTo>
                    <a:pt x="0" y="32"/>
                  </a:moveTo>
                  <a:lnTo>
                    <a:pt x="5" y="50"/>
                  </a:lnTo>
                  <a:lnTo>
                    <a:pt x="28" y="50"/>
                  </a:lnTo>
                  <a:lnTo>
                    <a:pt x="35" y="23"/>
                  </a:lnTo>
                  <a:lnTo>
                    <a:pt x="16" y="0"/>
                  </a:lnTo>
                  <a:lnTo>
                    <a:pt x="0" y="32"/>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8" name="Freeform 48"/>
            <p:cNvSpPr>
              <a:spLocks/>
            </p:cNvSpPr>
            <p:nvPr userDrawn="1"/>
          </p:nvSpPr>
          <p:spPr bwMode="auto">
            <a:xfrm>
              <a:off x="5619" y="2533"/>
              <a:ext cx="44" cy="216"/>
            </a:xfrm>
            <a:custGeom>
              <a:avLst/>
              <a:gdLst>
                <a:gd name="T0" fmla="*/ 33 w 44"/>
                <a:gd name="T1" fmla="*/ 0 h 216"/>
                <a:gd name="T2" fmla="*/ 10 w 44"/>
                <a:gd name="T3" fmla="*/ 0 h 216"/>
                <a:gd name="T4" fmla="*/ 0 w 44"/>
                <a:gd name="T5" fmla="*/ 54 h 216"/>
                <a:gd name="T6" fmla="*/ 24 w 44"/>
                <a:gd name="T7" fmla="*/ 216 h 216"/>
                <a:gd name="T8" fmla="*/ 44 w 44"/>
                <a:gd name="T9" fmla="*/ 64 h 216"/>
                <a:gd name="T10" fmla="*/ 33 w 44"/>
                <a:gd name="T11" fmla="*/ 0 h 216"/>
              </a:gdLst>
              <a:ahLst/>
              <a:cxnLst>
                <a:cxn ang="0">
                  <a:pos x="T0" y="T1"/>
                </a:cxn>
                <a:cxn ang="0">
                  <a:pos x="T2" y="T3"/>
                </a:cxn>
                <a:cxn ang="0">
                  <a:pos x="T4" y="T5"/>
                </a:cxn>
                <a:cxn ang="0">
                  <a:pos x="T6" y="T7"/>
                </a:cxn>
                <a:cxn ang="0">
                  <a:pos x="T8" y="T9"/>
                </a:cxn>
                <a:cxn ang="0">
                  <a:pos x="T10" y="T11"/>
                </a:cxn>
              </a:cxnLst>
              <a:rect l="0" t="0" r="r" b="b"/>
              <a:pathLst>
                <a:path w="44" h="216">
                  <a:moveTo>
                    <a:pt x="33" y="0"/>
                  </a:moveTo>
                  <a:lnTo>
                    <a:pt x="10" y="0"/>
                  </a:lnTo>
                  <a:lnTo>
                    <a:pt x="0" y="54"/>
                  </a:lnTo>
                  <a:lnTo>
                    <a:pt x="24" y="216"/>
                  </a:lnTo>
                  <a:lnTo>
                    <a:pt x="44" y="64"/>
                  </a:lnTo>
                  <a:lnTo>
                    <a:pt x="33"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9" name="Freeform 49"/>
            <p:cNvSpPr>
              <a:spLocks/>
            </p:cNvSpPr>
            <p:nvPr userDrawn="1"/>
          </p:nvSpPr>
          <p:spPr bwMode="auto">
            <a:xfrm>
              <a:off x="5605" y="2455"/>
              <a:ext cx="38" cy="69"/>
            </a:xfrm>
            <a:custGeom>
              <a:avLst/>
              <a:gdLst>
                <a:gd name="T0" fmla="*/ 38 w 38"/>
                <a:gd name="T1" fmla="*/ 28 h 69"/>
                <a:gd name="T2" fmla="*/ 13 w 38"/>
                <a:gd name="T3" fmla="*/ 69 h 69"/>
                <a:gd name="T4" fmla="*/ 0 w 38"/>
                <a:gd name="T5" fmla="*/ 28 h 69"/>
                <a:gd name="T6" fmla="*/ 0 w 38"/>
                <a:gd name="T7" fmla="*/ 0 h 69"/>
                <a:gd name="T8" fmla="*/ 38 w 38"/>
                <a:gd name="T9" fmla="*/ 28 h 69"/>
              </a:gdLst>
              <a:ahLst/>
              <a:cxnLst>
                <a:cxn ang="0">
                  <a:pos x="T0" y="T1"/>
                </a:cxn>
                <a:cxn ang="0">
                  <a:pos x="T2" y="T3"/>
                </a:cxn>
                <a:cxn ang="0">
                  <a:pos x="T4" y="T5"/>
                </a:cxn>
                <a:cxn ang="0">
                  <a:pos x="T6" y="T7"/>
                </a:cxn>
                <a:cxn ang="0">
                  <a:pos x="T8" y="T9"/>
                </a:cxn>
              </a:cxnLst>
              <a:rect l="0" t="0" r="r" b="b"/>
              <a:pathLst>
                <a:path w="38" h="69">
                  <a:moveTo>
                    <a:pt x="38" y="28"/>
                  </a:moveTo>
                  <a:lnTo>
                    <a:pt x="13" y="69"/>
                  </a:lnTo>
                  <a:lnTo>
                    <a:pt x="0" y="28"/>
                  </a:lnTo>
                  <a:lnTo>
                    <a:pt x="0" y="0"/>
                  </a:lnTo>
                  <a:lnTo>
                    <a:pt x="38"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50"/>
            <p:cNvSpPr>
              <a:spLocks/>
            </p:cNvSpPr>
            <p:nvPr userDrawn="1"/>
          </p:nvSpPr>
          <p:spPr bwMode="auto">
            <a:xfrm>
              <a:off x="5640" y="2455"/>
              <a:ext cx="38" cy="69"/>
            </a:xfrm>
            <a:custGeom>
              <a:avLst/>
              <a:gdLst>
                <a:gd name="T0" fmla="*/ 0 w 38"/>
                <a:gd name="T1" fmla="*/ 28 h 69"/>
                <a:gd name="T2" fmla="*/ 26 w 38"/>
                <a:gd name="T3" fmla="*/ 69 h 69"/>
                <a:gd name="T4" fmla="*/ 38 w 38"/>
                <a:gd name="T5" fmla="*/ 28 h 69"/>
                <a:gd name="T6" fmla="*/ 38 w 38"/>
                <a:gd name="T7" fmla="*/ 0 h 69"/>
                <a:gd name="T8" fmla="*/ 0 w 38"/>
                <a:gd name="T9" fmla="*/ 28 h 69"/>
              </a:gdLst>
              <a:ahLst/>
              <a:cxnLst>
                <a:cxn ang="0">
                  <a:pos x="T0" y="T1"/>
                </a:cxn>
                <a:cxn ang="0">
                  <a:pos x="T2" y="T3"/>
                </a:cxn>
                <a:cxn ang="0">
                  <a:pos x="T4" y="T5"/>
                </a:cxn>
                <a:cxn ang="0">
                  <a:pos x="T6" y="T7"/>
                </a:cxn>
                <a:cxn ang="0">
                  <a:pos x="T8" y="T9"/>
                </a:cxn>
              </a:cxnLst>
              <a:rect l="0" t="0" r="r" b="b"/>
              <a:pathLst>
                <a:path w="38" h="69">
                  <a:moveTo>
                    <a:pt x="0" y="28"/>
                  </a:moveTo>
                  <a:lnTo>
                    <a:pt x="26" y="69"/>
                  </a:lnTo>
                  <a:lnTo>
                    <a:pt x="38" y="28"/>
                  </a:lnTo>
                  <a:lnTo>
                    <a:pt x="38" y="0"/>
                  </a:lnTo>
                  <a:lnTo>
                    <a:pt x="0"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51"/>
            <p:cNvSpPr>
              <a:spLocks/>
            </p:cNvSpPr>
            <p:nvPr userDrawn="1"/>
          </p:nvSpPr>
          <p:spPr bwMode="auto">
            <a:xfrm>
              <a:off x="5716" y="2577"/>
              <a:ext cx="44" cy="30"/>
            </a:xfrm>
            <a:custGeom>
              <a:avLst/>
              <a:gdLst>
                <a:gd name="T0" fmla="*/ 0 w 44"/>
                <a:gd name="T1" fmla="*/ 30 h 30"/>
                <a:gd name="T2" fmla="*/ 23 w 44"/>
                <a:gd name="T3" fmla="*/ 0 h 30"/>
                <a:gd name="T4" fmla="*/ 44 w 44"/>
                <a:gd name="T5" fmla="*/ 30 h 30"/>
                <a:gd name="T6" fmla="*/ 0 w 44"/>
                <a:gd name="T7" fmla="*/ 30 h 30"/>
              </a:gdLst>
              <a:ahLst/>
              <a:cxnLst>
                <a:cxn ang="0">
                  <a:pos x="T0" y="T1"/>
                </a:cxn>
                <a:cxn ang="0">
                  <a:pos x="T2" y="T3"/>
                </a:cxn>
                <a:cxn ang="0">
                  <a:pos x="T4" y="T5"/>
                </a:cxn>
                <a:cxn ang="0">
                  <a:pos x="T6" y="T7"/>
                </a:cxn>
              </a:cxnLst>
              <a:rect l="0" t="0" r="r" b="b"/>
              <a:pathLst>
                <a:path w="44" h="30">
                  <a:moveTo>
                    <a:pt x="0" y="30"/>
                  </a:moveTo>
                  <a:lnTo>
                    <a:pt x="23" y="0"/>
                  </a:lnTo>
                  <a:lnTo>
                    <a:pt x="44"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52"/>
            <p:cNvSpPr>
              <a:spLocks/>
            </p:cNvSpPr>
            <p:nvPr userDrawn="1"/>
          </p:nvSpPr>
          <p:spPr bwMode="auto">
            <a:xfrm>
              <a:off x="5738" y="2577"/>
              <a:ext cx="44" cy="30"/>
            </a:xfrm>
            <a:custGeom>
              <a:avLst/>
              <a:gdLst>
                <a:gd name="T0" fmla="*/ 0 w 44"/>
                <a:gd name="T1" fmla="*/ 30 h 30"/>
                <a:gd name="T2" fmla="*/ 22 w 44"/>
                <a:gd name="T3" fmla="*/ 0 h 30"/>
                <a:gd name="T4" fmla="*/ 44 w 44"/>
                <a:gd name="T5" fmla="*/ 30 h 30"/>
                <a:gd name="T6" fmla="*/ 0 w 44"/>
                <a:gd name="T7" fmla="*/ 30 h 30"/>
              </a:gdLst>
              <a:ahLst/>
              <a:cxnLst>
                <a:cxn ang="0">
                  <a:pos x="T0" y="T1"/>
                </a:cxn>
                <a:cxn ang="0">
                  <a:pos x="T2" y="T3"/>
                </a:cxn>
                <a:cxn ang="0">
                  <a:pos x="T4" y="T5"/>
                </a:cxn>
                <a:cxn ang="0">
                  <a:pos x="T6" y="T7"/>
                </a:cxn>
              </a:cxnLst>
              <a:rect l="0" t="0" r="r" b="b"/>
              <a:pathLst>
                <a:path w="44" h="30">
                  <a:moveTo>
                    <a:pt x="0" y="30"/>
                  </a:moveTo>
                  <a:lnTo>
                    <a:pt x="22" y="0"/>
                  </a:lnTo>
                  <a:lnTo>
                    <a:pt x="44"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Freeform 53"/>
            <p:cNvSpPr>
              <a:spLocks/>
            </p:cNvSpPr>
            <p:nvPr userDrawn="1"/>
          </p:nvSpPr>
          <p:spPr bwMode="auto">
            <a:xfrm>
              <a:off x="5560" y="2146"/>
              <a:ext cx="110" cy="62"/>
            </a:xfrm>
            <a:custGeom>
              <a:avLst/>
              <a:gdLst>
                <a:gd name="T0" fmla="*/ 0 w 110"/>
                <a:gd name="T1" fmla="*/ 32 h 62"/>
                <a:gd name="T2" fmla="*/ 110 w 110"/>
                <a:gd name="T3" fmla="*/ 0 h 62"/>
                <a:gd name="T4" fmla="*/ 110 w 110"/>
                <a:gd name="T5" fmla="*/ 62 h 62"/>
                <a:gd name="T6" fmla="*/ 0 w 110"/>
                <a:gd name="T7" fmla="*/ 32 h 62"/>
              </a:gdLst>
              <a:ahLst/>
              <a:cxnLst>
                <a:cxn ang="0">
                  <a:pos x="T0" y="T1"/>
                </a:cxn>
                <a:cxn ang="0">
                  <a:pos x="T2" y="T3"/>
                </a:cxn>
                <a:cxn ang="0">
                  <a:pos x="T4" y="T5"/>
                </a:cxn>
                <a:cxn ang="0">
                  <a:pos x="T6" y="T7"/>
                </a:cxn>
              </a:cxnLst>
              <a:rect l="0" t="0" r="r" b="b"/>
              <a:pathLst>
                <a:path w="110" h="62">
                  <a:moveTo>
                    <a:pt x="0" y="32"/>
                  </a:moveTo>
                  <a:lnTo>
                    <a:pt x="110" y="0"/>
                  </a:lnTo>
                  <a:lnTo>
                    <a:pt x="110" y="62"/>
                  </a:lnTo>
                  <a:lnTo>
                    <a:pt x="0" y="32"/>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Freeform 54"/>
            <p:cNvSpPr>
              <a:spLocks/>
            </p:cNvSpPr>
            <p:nvPr userDrawn="1"/>
          </p:nvSpPr>
          <p:spPr bwMode="auto">
            <a:xfrm>
              <a:off x="5484" y="2178"/>
              <a:ext cx="274" cy="198"/>
            </a:xfrm>
            <a:custGeom>
              <a:avLst/>
              <a:gdLst>
                <a:gd name="T0" fmla="*/ 0 w 233"/>
                <a:gd name="T1" fmla="*/ 168 h 168"/>
                <a:gd name="T2" fmla="*/ 118 w 233"/>
                <a:gd name="T3" fmla="*/ 168 h 168"/>
                <a:gd name="T4" fmla="*/ 119 w 233"/>
                <a:gd name="T5" fmla="*/ 167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7"/>
                    <a:pt x="119" y="167"/>
                    <a:pt x="119" y="167"/>
                  </a:cubicBezTo>
                  <a:cubicBezTo>
                    <a:pt x="207" y="162"/>
                    <a:pt x="233" y="89"/>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Oval 55"/>
            <p:cNvSpPr>
              <a:spLocks noChangeArrowheads="1"/>
            </p:cNvSpPr>
            <p:nvPr userDrawn="1"/>
          </p:nvSpPr>
          <p:spPr bwMode="auto">
            <a:xfrm>
              <a:off x="5580" y="2224"/>
              <a:ext cx="16" cy="1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6" name="Oval 56"/>
            <p:cNvSpPr>
              <a:spLocks noChangeArrowheads="1"/>
            </p:cNvSpPr>
            <p:nvPr userDrawn="1"/>
          </p:nvSpPr>
          <p:spPr bwMode="auto">
            <a:xfrm>
              <a:off x="5580" y="2224"/>
              <a:ext cx="16" cy="1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7" name="Freeform 57"/>
            <p:cNvSpPr>
              <a:spLocks/>
            </p:cNvSpPr>
            <p:nvPr userDrawn="1"/>
          </p:nvSpPr>
          <p:spPr bwMode="auto">
            <a:xfrm>
              <a:off x="5386" y="2116"/>
              <a:ext cx="279" cy="335"/>
            </a:xfrm>
            <a:custGeom>
              <a:avLst/>
              <a:gdLst>
                <a:gd name="T0" fmla="*/ 140 w 237"/>
                <a:gd name="T1" fmla="*/ 171 h 285"/>
                <a:gd name="T2" fmla="*/ 140 w 237"/>
                <a:gd name="T3" fmla="*/ 171 h 285"/>
                <a:gd name="T4" fmla="*/ 136 w 237"/>
                <a:gd name="T5" fmla="*/ 167 h 285"/>
                <a:gd name="T6" fmla="*/ 125 w 237"/>
                <a:gd name="T7" fmla="*/ 123 h 285"/>
                <a:gd name="T8" fmla="*/ 83 w 237"/>
                <a:gd name="T9" fmla="*/ 54 h 285"/>
                <a:gd name="T10" fmla="*/ 83 w 237"/>
                <a:gd name="T11" fmla="*/ 55 h 285"/>
                <a:gd name="T12" fmla="*/ 83 w 237"/>
                <a:gd name="T13" fmla="*/ 54 h 285"/>
                <a:gd name="T14" fmla="*/ 33 w 237"/>
                <a:gd name="T15" fmla="*/ 82 h 285"/>
                <a:gd name="T16" fmla="*/ 26 w 237"/>
                <a:gd name="T17" fmla="*/ 146 h 285"/>
                <a:gd name="T18" fmla="*/ 35 w 237"/>
                <a:gd name="T19" fmla="*/ 178 h 285"/>
                <a:gd name="T20" fmla="*/ 41 w 237"/>
                <a:gd name="T21" fmla="*/ 205 h 285"/>
                <a:gd name="T22" fmla="*/ 68 w 237"/>
                <a:gd name="T23" fmla="*/ 219 h 285"/>
                <a:gd name="T24" fmla="*/ 237 w 237"/>
                <a:gd name="T25" fmla="*/ 214 h 285"/>
                <a:gd name="T26" fmla="*/ 140 w 237"/>
                <a:gd name="T27" fmla="*/ 17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285">
                  <a:moveTo>
                    <a:pt x="140" y="171"/>
                  </a:moveTo>
                  <a:cubicBezTo>
                    <a:pt x="140" y="171"/>
                    <a:pt x="140" y="171"/>
                    <a:pt x="140" y="171"/>
                  </a:cubicBezTo>
                  <a:cubicBezTo>
                    <a:pt x="139" y="170"/>
                    <a:pt x="137" y="168"/>
                    <a:pt x="136" y="167"/>
                  </a:cubicBezTo>
                  <a:cubicBezTo>
                    <a:pt x="122" y="153"/>
                    <a:pt x="126" y="142"/>
                    <a:pt x="125" y="123"/>
                  </a:cubicBezTo>
                  <a:cubicBezTo>
                    <a:pt x="124" y="99"/>
                    <a:pt x="108" y="61"/>
                    <a:pt x="83" y="54"/>
                  </a:cubicBezTo>
                  <a:cubicBezTo>
                    <a:pt x="83" y="55"/>
                    <a:pt x="83" y="55"/>
                    <a:pt x="83" y="55"/>
                  </a:cubicBezTo>
                  <a:cubicBezTo>
                    <a:pt x="83" y="54"/>
                    <a:pt x="83" y="54"/>
                    <a:pt x="83" y="54"/>
                  </a:cubicBezTo>
                  <a:cubicBezTo>
                    <a:pt x="83" y="54"/>
                    <a:pt x="0" y="0"/>
                    <a:pt x="33" y="82"/>
                  </a:cubicBezTo>
                  <a:cubicBezTo>
                    <a:pt x="19" y="101"/>
                    <a:pt x="15" y="127"/>
                    <a:pt x="26" y="146"/>
                  </a:cubicBezTo>
                  <a:cubicBezTo>
                    <a:pt x="33" y="157"/>
                    <a:pt x="35" y="165"/>
                    <a:pt x="35" y="178"/>
                  </a:cubicBezTo>
                  <a:cubicBezTo>
                    <a:pt x="35" y="188"/>
                    <a:pt x="36" y="196"/>
                    <a:pt x="41" y="205"/>
                  </a:cubicBezTo>
                  <a:cubicBezTo>
                    <a:pt x="45" y="212"/>
                    <a:pt x="56" y="218"/>
                    <a:pt x="68" y="219"/>
                  </a:cubicBezTo>
                  <a:cubicBezTo>
                    <a:pt x="109" y="285"/>
                    <a:pt x="237" y="214"/>
                    <a:pt x="237" y="214"/>
                  </a:cubicBezTo>
                  <a:cubicBezTo>
                    <a:pt x="209" y="170"/>
                    <a:pt x="140" y="171"/>
                    <a:pt x="140" y="171"/>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8" name="Freeform 58"/>
            <p:cNvSpPr>
              <a:spLocks/>
            </p:cNvSpPr>
            <p:nvPr userDrawn="1"/>
          </p:nvSpPr>
          <p:spPr bwMode="auto">
            <a:xfrm>
              <a:off x="5551" y="2302"/>
              <a:ext cx="89" cy="58"/>
            </a:xfrm>
            <a:custGeom>
              <a:avLst/>
              <a:gdLst>
                <a:gd name="T0" fmla="*/ 0 w 76"/>
                <a:gd name="T1" fmla="*/ 13 h 50"/>
                <a:gd name="T2" fmla="*/ 37 w 76"/>
                <a:gd name="T3" fmla="*/ 50 h 50"/>
                <a:gd name="T4" fmla="*/ 75 w 76"/>
                <a:gd name="T5" fmla="*/ 13 h 50"/>
                <a:gd name="T6" fmla="*/ 76 w 76"/>
                <a:gd name="T7" fmla="*/ 0 h 50"/>
                <a:gd name="T8" fmla="*/ 0 w 76"/>
                <a:gd name="T9" fmla="*/ 0 h 50"/>
                <a:gd name="T10" fmla="*/ 0 w 76"/>
                <a:gd name="T11" fmla="*/ 13 h 50"/>
              </a:gdLst>
              <a:ahLst/>
              <a:cxnLst>
                <a:cxn ang="0">
                  <a:pos x="T0" y="T1"/>
                </a:cxn>
                <a:cxn ang="0">
                  <a:pos x="T2" y="T3"/>
                </a:cxn>
                <a:cxn ang="0">
                  <a:pos x="T4" y="T5"/>
                </a:cxn>
                <a:cxn ang="0">
                  <a:pos x="T6" y="T7"/>
                </a:cxn>
                <a:cxn ang="0">
                  <a:pos x="T8" y="T9"/>
                </a:cxn>
                <a:cxn ang="0">
                  <a:pos x="T10" y="T11"/>
                </a:cxn>
              </a:cxnLst>
              <a:rect l="0" t="0" r="r" b="b"/>
              <a:pathLst>
                <a:path w="76" h="50">
                  <a:moveTo>
                    <a:pt x="0" y="13"/>
                  </a:moveTo>
                  <a:cubicBezTo>
                    <a:pt x="0" y="33"/>
                    <a:pt x="16" y="50"/>
                    <a:pt x="37" y="50"/>
                  </a:cubicBezTo>
                  <a:cubicBezTo>
                    <a:pt x="58" y="50"/>
                    <a:pt x="75" y="33"/>
                    <a:pt x="75" y="13"/>
                  </a:cubicBezTo>
                  <a:cubicBezTo>
                    <a:pt x="76" y="0"/>
                    <a:pt x="76" y="0"/>
                    <a:pt x="76" y="0"/>
                  </a:cubicBezTo>
                  <a:cubicBezTo>
                    <a:pt x="0" y="0"/>
                    <a:pt x="0" y="0"/>
                    <a:pt x="0" y="0"/>
                  </a:cubicBezTo>
                  <a:cubicBezTo>
                    <a:pt x="0" y="13"/>
                    <a:pt x="0" y="13"/>
                    <a:pt x="0" y="13"/>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9" name="Freeform 59"/>
            <p:cNvSpPr>
              <a:spLocks/>
            </p:cNvSpPr>
            <p:nvPr userDrawn="1"/>
          </p:nvSpPr>
          <p:spPr bwMode="auto">
            <a:xfrm>
              <a:off x="5572" y="2317"/>
              <a:ext cx="45" cy="21"/>
            </a:xfrm>
            <a:custGeom>
              <a:avLst/>
              <a:gdLst>
                <a:gd name="T0" fmla="*/ 38 w 38"/>
                <a:gd name="T1" fmla="*/ 0 h 18"/>
                <a:gd name="T2" fmla="*/ 0 w 38"/>
                <a:gd name="T3" fmla="*/ 0 h 18"/>
                <a:gd name="T4" fmla="*/ 19 w 38"/>
                <a:gd name="T5" fmla="*/ 18 h 18"/>
                <a:gd name="T6" fmla="*/ 38 w 38"/>
                <a:gd name="T7" fmla="*/ 0 h 18"/>
              </a:gdLst>
              <a:ahLst/>
              <a:cxnLst>
                <a:cxn ang="0">
                  <a:pos x="T0" y="T1"/>
                </a:cxn>
                <a:cxn ang="0">
                  <a:pos x="T2" y="T3"/>
                </a:cxn>
                <a:cxn ang="0">
                  <a:pos x="T4" y="T5"/>
                </a:cxn>
                <a:cxn ang="0">
                  <a:pos x="T6" y="T7"/>
                </a:cxn>
              </a:cxnLst>
              <a:rect l="0" t="0" r="r" b="b"/>
              <a:pathLst>
                <a:path w="38" h="18">
                  <a:moveTo>
                    <a:pt x="38" y="0"/>
                  </a:moveTo>
                  <a:cubicBezTo>
                    <a:pt x="0" y="0"/>
                    <a:pt x="0" y="0"/>
                    <a:pt x="0" y="0"/>
                  </a:cubicBezTo>
                  <a:cubicBezTo>
                    <a:pt x="0" y="10"/>
                    <a:pt x="9" y="18"/>
                    <a:pt x="19" y="18"/>
                  </a:cubicBezTo>
                  <a:cubicBezTo>
                    <a:pt x="30" y="18"/>
                    <a:pt x="38" y="10"/>
                    <a:pt x="38" y="0"/>
                  </a:cubicBezTo>
                </a:path>
              </a:pathLst>
            </a:custGeom>
            <a:solidFill>
              <a:srgbClr val="D6B2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0" name="Freeform 60"/>
            <p:cNvSpPr>
              <a:spLocks/>
            </p:cNvSpPr>
            <p:nvPr userDrawn="1"/>
          </p:nvSpPr>
          <p:spPr bwMode="auto">
            <a:xfrm>
              <a:off x="5305" y="2456"/>
              <a:ext cx="188" cy="721"/>
            </a:xfrm>
            <a:custGeom>
              <a:avLst/>
              <a:gdLst>
                <a:gd name="T0" fmla="*/ 0 w 160"/>
                <a:gd name="T1" fmla="*/ 613 h 613"/>
                <a:gd name="T2" fmla="*/ 86 w 160"/>
                <a:gd name="T3" fmla="*/ 0 h 613"/>
                <a:gd name="T4" fmla="*/ 86 w 160"/>
                <a:gd name="T5" fmla="*/ 1 h 613"/>
                <a:gd name="T6" fmla="*/ 160 w 160"/>
                <a:gd name="T7" fmla="*/ 26 h 613"/>
                <a:gd name="T8" fmla="*/ 147 w 160"/>
                <a:gd name="T9" fmla="*/ 67 h 613"/>
                <a:gd name="T10" fmla="*/ 119 w 160"/>
                <a:gd name="T11" fmla="*/ 185 h 613"/>
                <a:gd name="T12" fmla="*/ 78 w 160"/>
                <a:gd name="T13" fmla="*/ 613 h 613"/>
                <a:gd name="T14" fmla="*/ 0 w 160"/>
                <a:gd name="T15" fmla="*/ 613 h 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613">
                  <a:moveTo>
                    <a:pt x="0" y="613"/>
                  </a:moveTo>
                  <a:cubicBezTo>
                    <a:pt x="0" y="244"/>
                    <a:pt x="85" y="3"/>
                    <a:pt x="86" y="0"/>
                  </a:cubicBezTo>
                  <a:cubicBezTo>
                    <a:pt x="86" y="1"/>
                    <a:pt x="86" y="1"/>
                    <a:pt x="86" y="1"/>
                  </a:cubicBezTo>
                  <a:cubicBezTo>
                    <a:pt x="160" y="26"/>
                    <a:pt x="160" y="26"/>
                    <a:pt x="160" y="26"/>
                  </a:cubicBezTo>
                  <a:cubicBezTo>
                    <a:pt x="160" y="26"/>
                    <a:pt x="155" y="40"/>
                    <a:pt x="147" y="67"/>
                  </a:cubicBezTo>
                  <a:cubicBezTo>
                    <a:pt x="140" y="94"/>
                    <a:pt x="130" y="134"/>
                    <a:pt x="119" y="185"/>
                  </a:cubicBezTo>
                  <a:cubicBezTo>
                    <a:pt x="99" y="287"/>
                    <a:pt x="78" y="434"/>
                    <a:pt x="78" y="613"/>
                  </a:cubicBezTo>
                  <a:lnTo>
                    <a:pt x="0" y="613"/>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1" name="Rectangle 61"/>
            <p:cNvSpPr>
              <a:spLocks noChangeArrowheads="1"/>
            </p:cNvSpPr>
            <p:nvPr userDrawn="1"/>
          </p:nvSpPr>
          <p:spPr bwMode="auto">
            <a:xfrm>
              <a:off x="5111" y="3294"/>
              <a:ext cx="519" cy="391"/>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2" name="Rectangle 62"/>
            <p:cNvSpPr>
              <a:spLocks noChangeArrowheads="1"/>
            </p:cNvSpPr>
            <p:nvPr userDrawn="1"/>
          </p:nvSpPr>
          <p:spPr bwMode="auto">
            <a:xfrm>
              <a:off x="5111" y="3294"/>
              <a:ext cx="519" cy="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3" name="Freeform 63"/>
            <p:cNvSpPr>
              <a:spLocks/>
            </p:cNvSpPr>
            <p:nvPr userDrawn="1"/>
          </p:nvSpPr>
          <p:spPr bwMode="auto">
            <a:xfrm>
              <a:off x="5517" y="3294"/>
              <a:ext cx="113" cy="391"/>
            </a:xfrm>
            <a:custGeom>
              <a:avLst/>
              <a:gdLst>
                <a:gd name="T0" fmla="*/ 113 w 113"/>
                <a:gd name="T1" fmla="*/ 0 h 391"/>
                <a:gd name="T2" fmla="*/ 80 w 113"/>
                <a:gd name="T3" fmla="*/ 0 h 391"/>
                <a:gd name="T4" fmla="*/ 0 w 113"/>
                <a:gd name="T5" fmla="*/ 0 h 391"/>
                <a:gd name="T6" fmla="*/ 0 w 113"/>
                <a:gd name="T7" fmla="*/ 391 h 391"/>
                <a:gd name="T8" fmla="*/ 113 w 113"/>
                <a:gd name="T9" fmla="*/ 391 h 391"/>
                <a:gd name="T10" fmla="*/ 113 w 113"/>
                <a:gd name="T11" fmla="*/ 0 h 391"/>
              </a:gdLst>
              <a:ahLst/>
              <a:cxnLst>
                <a:cxn ang="0">
                  <a:pos x="T0" y="T1"/>
                </a:cxn>
                <a:cxn ang="0">
                  <a:pos x="T2" y="T3"/>
                </a:cxn>
                <a:cxn ang="0">
                  <a:pos x="T4" y="T5"/>
                </a:cxn>
                <a:cxn ang="0">
                  <a:pos x="T6" y="T7"/>
                </a:cxn>
                <a:cxn ang="0">
                  <a:pos x="T8" y="T9"/>
                </a:cxn>
                <a:cxn ang="0">
                  <a:pos x="T10" y="T11"/>
                </a:cxn>
              </a:cxnLst>
              <a:rect l="0" t="0" r="r" b="b"/>
              <a:pathLst>
                <a:path w="113" h="391">
                  <a:moveTo>
                    <a:pt x="113" y="0"/>
                  </a:moveTo>
                  <a:lnTo>
                    <a:pt x="80" y="0"/>
                  </a:lnTo>
                  <a:lnTo>
                    <a:pt x="0" y="0"/>
                  </a:lnTo>
                  <a:lnTo>
                    <a:pt x="0" y="391"/>
                  </a:lnTo>
                  <a:lnTo>
                    <a:pt x="113" y="391"/>
                  </a:lnTo>
                  <a:lnTo>
                    <a:pt x="113" y="0"/>
                  </a:lnTo>
                  <a:close/>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4" name="Freeform 64"/>
            <p:cNvSpPr>
              <a:spLocks/>
            </p:cNvSpPr>
            <p:nvPr userDrawn="1"/>
          </p:nvSpPr>
          <p:spPr bwMode="auto">
            <a:xfrm>
              <a:off x="5517" y="3294"/>
              <a:ext cx="113" cy="391"/>
            </a:xfrm>
            <a:custGeom>
              <a:avLst/>
              <a:gdLst>
                <a:gd name="T0" fmla="*/ 113 w 113"/>
                <a:gd name="T1" fmla="*/ 0 h 391"/>
                <a:gd name="T2" fmla="*/ 80 w 113"/>
                <a:gd name="T3" fmla="*/ 0 h 391"/>
                <a:gd name="T4" fmla="*/ 0 w 113"/>
                <a:gd name="T5" fmla="*/ 0 h 391"/>
                <a:gd name="T6" fmla="*/ 0 w 113"/>
                <a:gd name="T7" fmla="*/ 391 h 391"/>
                <a:gd name="T8" fmla="*/ 113 w 113"/>
                <a:gd name="T9" fmla="*/ 391 h 391"/>
                <a:gd name="T10" fmla="*/ 113 w 113"/>
                <a:gd name="T11" fmla="*/ 0 h 391"/>
              </a:gdLst>
              <a:ahLst/>
              <a:cxnLst>
                <a:cxn ang="0">
                  <a:pos x="T0" y="T1"/>
                </a:cxn>
                <a:cxn ang="0">
                  <a:pos x="T2" y="T3"/>
                </a:cxn>
                <a:cxn ang="0">
                  <a:pos x="T4" y="T5"/>
                </a:cxn>
                <a:cxn ang="0">
                  <a:pos x="T6" y="T7"/>
                </a:cxn>
                <a:cxn ang="0">
                  <a:pos x="T8" y="T9"/>
                </a:cxn>
                <a:cxn ang="0">
                  <a:pos x="T10" y="T11"/>
                </a:cxn>
              </a:cxnLst>
              <a:rect l="0" t="0" r="r" b="b"/>
              <a:pathLst>
                <a:path w="113" h="391">
                  <a:moveTo>
                    <a:pt x="113" y="0"/>
                  </a:moveTo>
                  <a:lnTo>
                    <a:pt x="80" y="0"/>
                  </a:lnTo>
                  <a:lnTo>
                    <a:pt x="0" y="0"/>
                  </a:lnTo>
                  <a:lnTo>
                    <a:pt x="0" y="391"/>
                  </a:lnTo>
                  <a:lnTo>
                    <a:pt x="113" y="391"/>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5" name="Freeform 65"/>
            <p:cNvSpPr>
              <a:spLocks/>
            </p:cNvSpPr>
            <p:nvPr userDrawn="1"/>
          </p:nvSpPr>
          <p:spPr bwMode="auto">
            <a:xfrm>
              <a:off x="5267" y="3212"/>
              <a:ext cx="177" cy="88"/>
            </a:xfrm>
            <a:custGeom>
              <a:avLst/>
              <a:gdLst>
                <a:gd name="T0" fmla="*/ 153 w 177"/>
                <a:gd name="T1" fmla="*/ 88 h 88"/>
                <a:gd name="T2" fmla="*/ 153 w 177"/>
                <a:gd name="T3" fmla="*/ 23 h 88"/>
                <a:gd name="T4" fmla="*/ 23 w 177"/>
                <a:gd name="T5" fmla="*/ 23 h 88"/>
                <a:gd name="T6" fmla="*/ 23 w 177"/>
                <a:gd name="T7" fmla="*/ 85 h 88"/>
                <a:gd name="T8" fmla="*/ 23 w 177"/>
                <a:gd name="T9" fmla="*/ 85 h 88"/>
                <a:gd name="T10" fmla="*/ 0 w 177"/>
                <a:gd name="T11" fmla="*/ 85 h 88"/>
                <a:gd name="T12" fmla="*/ 0 w 177"/>
                <a:gd name="T13" fmla="*/ 0 h 88"/>
                <a:gd name="T14" fmla="*/ 177 w 177"/>
                <a:gd name="T15" fmla="*/ 0 h 88"/>
                <a:gd name="T16" fmla="*/ 177 w 177"/>
                <a:gd name="T17" fmla="*/ 88 h 88"/>
                <a:gd name="T18" fmla="*/ 153 w 177"/>
                <a:gd name="T1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88">
                  <a:moveTo>
                    <a:pt x="153" y="88"/>
                  </a:moveTo>
                  <a:lnTo>
                    <a:pt x="153" y="23"/>
                  </a:lnTo>
                  <a:lnTo>
                    <a:pt x="23" y="23"/>
                  </a:lnTo>
                  <a:lnTo>
                    <a:pt x="23" y="85"/>
                  </a:lnTo>
                  <a:lnTo>
                    <a:pt x="23" y="85"/>
                  </a:lnTo>
                  <a:lnTo>
                    <a:pt x="0" y="85"/>
                  </a:lnTo>
                  <a:lnTo>
                    <a:pt x="0" y="0"/>
                  </a:lnTo>
                  <a:lnTo>
                    <a:pt x="177" y="0"/>
                  </a:lnTo>
                  <a:lnTo>
                    <a:pt x="177" y="88"/>
                  </a:lnTo>
                  <a:lnTo>
                    <a:pt x="153" y="88"/>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6" name="Freeform 66"/>
            <p:cNvSpPr>
              <a:spLocks/>
            </p:cNvSpPr>
            <p:nvPr userDrawn="1"/>
          </p:nvSpPr>
          <p:spPr bwMode="auto">
            <a:xfrm>
              <a:off x="5305" y="3177"/>
              <a:ext cx="93" cy="96"/>
            </a:xfrm>
            <a:custGeom>
              <a:avLst/>
              <a:gdLst>
                <a:gd name="T0" fmla="*/ 1 w 79"/>
                <a:gd name="T1" fmla="*/ 41 h 82"/>
                <a:gd name="T2" fmla="*/ 0 w 79"/>
                <a:gd name="T3" fmla="*/ 42 h 82"/>
                <a:gd name="T4" fmla="*/ 40 w 79"/>
                <a:gd name="T5" fmla="*/ 82 h 82"/>
                <a:gd name="T6" fmla="*/ 79 w 79"/>
                <a:gd name="T7" fmla="*/ 42 h 82"/>
                <a:gd name="T8" fmla="*/ 79 w 79"/>
                <a:gd name="T9" fmla="*/ 41 h 82"/>
                <a:gd name="T10" fmla="*/ 79 w 79"/>
                <a:gd name="T11" fmla="*/ 41 h 82"/>
                <a:gd name="T12" fmla="*/ 79 w 79"/>
                <a:gd name="T13" fmla="*/ 0 h 82"/>
                <a:gd name="T14" fmla="*/ 0 w 79"/>
                <a:gd name="T15" fmla="*/ 0 h 82"/>
                <a:gd name="T16" fmla="*/ 0 w 79"/>
                <a:gd name="T17" fmla="*/ 41 h 82"/>
                <a:gd name="T18" fmla="*/ 1 w 79"/>
                <a:gd name="T19" fmla="*/ 4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82">
                  <a:moveTo>
                    <a:pt x="1" y="41"/>
                  </a:moveTo>
                  <a:cubicBezTo>
                    <a:pt x="1" y="41"/>
                    <a:pt x="0" y="42"/>
                    <a:pt x="0" y="42"/>
                  </a:cubicBezTo>
                  <a:cubicBezTo>
                    <a:pt x="0" y="64"/>
                    <a:pt x="18" y="82"/>
                    <a:pt x="40" y="82"/>
                  </a:cubicBezTo>
                  <a:cubicBezTo>
                    <a:pt x="61" y="82"/>
                    <a:pt x="79" y="64"/>
                    <a:pt x="79" y="42"/>
                  </a:cubicBezTo>
                  <a:cubicBezTo>
                    <a:pt x="79" y="42"/>
                    <a:pt x="79" y="41"/>
                    <a:pt x="79" y="41"/>
                  </a:cubicBezTo>
                  <a:cubicBezTo>
                    <a:pt x="79" y="41"/>
                    <a:pt x="79" y="41"/>
                    <a:pt x="79" y="41"/>
                  </a:cubicBezTo>
                  <a:cubicBezTo>
                    <a:pt x="79" y="0"/>
                    <a:pt x="79" y="0"/>
                    <a:pt x="79" y="0"/>
                  </a:cubicBezTo>
                  <a:cubicBezTo>
                    <a:pt x="0" y="0"/>
                    <a:pt x="0" y="0"/>
                    <a:pt x="0" y="0"/>
                  </a:cubicBezTo>
                  <a:cubicBezTo>
                    <a:pt x="0" y="41"/>
                    <a:pt x="0" y="41"/>
                    <a:pt x="0" y="41"/>
                  </a:cubicBezTo>
                  <a:lnTo>
                    <a:pt x="1" y="4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87"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39637052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5" name="Group 4"/>
          <p:cNvGrpSpPr>
            <a:grpSpLocks noChangeAspect="1"/>
          </p:cNvGrpSpPr>
          <p:nvPr userDrawn="1"/>
        </p:nvGrpSpPr>
        <p:grpSpPr bwMode="auto">
          <a:xfrm>
            <a:off x="7589839" y="296863"/>
            <a:ext cx="5174855" cy="6697663"/>
            <a:chOff x="4698" y="851"/>
            <a:chExt cx="1152" cy="1491"/>
          </a:xfrm>
        </p:grpSpPr>
        <p:sp>
          <p:nvSpPr>
            <p:cNvPr id="27"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2"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7131034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1FBC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87" name="Group 4"/>
          <p:cNvGrpSpPr>
            <a:grpSpLocks noChangeAspect="1"/>
          </p:cNvGrpSpPr>
          <p:nvPr userDrawn="1"/>
        </p:nvGrpSpPr>
        <p:grpSpPr bwMode="auto">
          <a:xfrm>
            <a:off x="7589839" y="296863"/>
            <a:ext cx="5174855" cy="6697663"/>
            <a:chOff x="4698" y="851"/>
            <a:chExt cx="1152" cy="1491"/>
          </a:xfrm>
        </p:grpSpPr>
        <p:sp>
          <p:nvSpPr>
            <p:cNvPr id="88"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9"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1FBC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0"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2"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1"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64641672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1041405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04529556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03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96761481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414006084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57717552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38" name="Group 4"/>
          <p:cNvGrpSpPr>
            <a:grpSpLocks noChangeAspect="1"/>
          </p:cNvGrpSpPr>
          <p:nvPr userDrawn="1"/>
        </p:nvGrpSpPr>
        <p:grpSpPr bwMode="auto">
          <a:xfrm>
            <a:off x="7589839" y="296863"/>
            <a:ext cx="5174855" cy="6697663"/>
            <a:chOff x="4698" y="851"/>
            <a:chExt cx="1152" cy="1491"/>
          </a:xfrm>
        </p:grpSpPr>
        <p:sp>
          <p:nvSpPr>
            <p:cNvPr id="39"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1"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3928209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406807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0549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549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6825524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55939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3" y="450851"/>
            <a:ext cx="11493617"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2" y="1141380"/>
            <a:ext cx="11491332" cy="426516"/>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2" y="1836703"/>
            <a:ext cx="11491332" cy="315670"/>
          </a:xfrm>
        </p:spPr>
        <p:txBody>
          <a:bodyPr lIns="0" tIns="0"/>
          <a:lstStyle>
            <a:lvl1pPr marL="0" indent="0">
              <a:buNone/>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284203012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1" y="450851"/>
            <a:ext cx="11889564"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0" y="1141380"/>
            <a:ext cx="11887200" cy="426516"/>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0" y="1836702"/>
            <a:ext cx="11887200" cy="1843399"/>
          </a:xfrm>
        </p:spPr>
        <p:txBody>
          <a:bodyPr lIns="0" tIns="0"/>
          <a:lstStyle>
            <a:lvl1pPr marL="285717" marR="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a:p>
            <a:pPr marL="285717" marR="0" lvl="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a:pPr>
            <a:r>
              <a:rPr lang="en-US"/>
              <a:t>Click to edit Master text styles</a:t>
            </a:r>
          </a:p>
          <a:p>
            <a:pPr marL="285717" marR="0" lvl="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a:pPr>
            <a:r>
              <a:rPr lang="en-US"/>
              <a:t>Click to edit Master text styles</a:t>
            </a:r>
          </a:p>
          <a:p>
            <a:pPr lvl="0"/>
            <a:endParaRPr lang="en-US"/>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217896903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1" y="450851"/>
            <a:ext cx="11889564" cy="690656"/>
          </a:xfrm>
        </p:spPr>
        <p:txBody>
          <a:bodyPr lIns="0" tIns="0"/>
          <a:lstStyle>
            <a:lvl1pPr>
              <a:defRPr sz="4599">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463550" y="1816101"/>
            <a:ext cx="11387138" cy="2168899"/>
          </a:xfrm>
        </p:spPr>
        <p:txBody>
          <a:bodyPr/>
          <a:lstStyle>
            <a:lvl1pPr>
              <a:defRPr sz="2600">
                <a:solidFill>
                  <a:srgbClr val="505050"/>
                </a:solidFill>
                <a:latin typeface="+mn-lt"/>
              </a:defRPr>
            </a:lvl1pPr>
            <a:lvl2pPr>
              <a:defRPr sz="2200">
                <a:solidFill>
                  <a:srgbClr val="505050"/>
                </a:solidFill>
                <a:latin typeface="+mn-lt"/>
              </a:defRPr>
            </a:lvl2pPr>
          </a:lstStyle>
          <a:p>
            <a:pPr lvl="0"/>
            <a:r>
              <a:rPr lang="en-US"/>
              <a:t>Click to edit Master text styles</a:t>
            </a:r>
          </a:p>
          <a:p>
            <a:pPr lvl="1"/>
            <a:r>
              <a:rPr lang="en-US"/>
              <a:t>Second level</a:t>
            </a:r>
          </a:p>
          <a:p>
            <a:pPr lvl="0"/>
            <a:r>
              <a:rPr lang="en-US"/>
              <a:t>Click to edit Master text styles</a:t>
            </a:r>
          </a:p>
          <a:p>
            <a:pPr lvl="1"/>
            <a:r>
              <a:rPr lang="en-US"/>
              <a:t>Second level</a:t>
            </a:r>
          </a:p>
          <a:p>
            <a:pPr lvl="1"/>
            <a:endParaRPr lang="en-US"/>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58582595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742187"/>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62939" y="832968"/>
            <a:ext cx="11910600" cy="5876624"/>
          </a:xfrm>
          <a:prstGeom prst="rect">
            <a:avLst/>
          </a:prstGeom>
          <a:noFill/>
          <a:ln>
            <a:noFill/>
          </a:ln>
        </p:spPr>
      </p:pic>
      <p:sp>
        <p:nvSpPr>
          <p:cNvPr id="5"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25678"/>
            <a:ext cx="5187450" cy="1828800"/>
          </a:xfrm>
          <a:noFill/>
        </p:spPr>
        <p:txBody>
          <a:bodyPr lIns="146304" tIns="91440" rIns="146304" bIns="91440" anchor="t" anchorCtr="0"/>
          <a:lstStyle>
            <a:lvl1pPr>
              <a:defRPr sz="6000" spc="-101"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57798" y="328911"/>
            <a:ext cx="9915740" cy="6380679"/>
          </a:xfrm>
          <a:prstGeom prst="rect">
            <a:avLst/>
          </a:prstGeom>
          <a:noFill/>
          <a:ln>
            <a:noFill/>
          </a:ln>
        </p:spPr>
      </p:pic>
    </p:spTree>
    <p:extLst>
      <p:ext uri="{BB962C8B-B14F-4D97-AF65-F5344CB8AC3E}">
        <p14:creationId xmlns:p14="http://schemas.microsoft.com/office/powerpoint/2010/main" val="3208988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3200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5"/>
            <a:ext cx="5486400" cy="409841"/>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3624636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3200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4"/>
            <a:ext cx="5486400" cy="409841"/>
          </a:xfrm>
        </p:spPr>
        <p:txBody>
          <a:bodyPr/>
          <a:lstStyle>
            <a:lvl1pPr marL="0" indent="0">
              <a:buNone/>
              <a:defRPr sz="1599">
                <a:gradFill>
                  <a:gsLst>
                    <a:gs pos="94690">
                      <a:schemeClr val="tx1"/>
                    </a:gs>
                    <a:gs pos="86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lvl1pPr>
          </a:lstStyle>
          <a:p>
            <a:pPr algn="r">
              <a:defRPr/>
            </a:pPr>
            <a:r>
              <a:rPr lang="en-US">
                <a:gradFill>
                  <a:gsLst>
                    <a:gs pos="2239">
                      <a:srgbClr val="505050"/>
                    </a:gs>
                    <a:gs pos="11940">
                      <a:srgbClr val="505050"/>
                    </a:gs>
                  </a:gsLst>
                  <a:lin ang="5400000" scaled="0"/>
                </a:gradFill>
              </a:rPr>
              <a:t>Confidential under NDA</a:t>
            </a:r>
          </a:p>
        </p:txBody>
      </p:sp>
    </p:spTree>
    <p:extLst>
      <p:ext uri="{BB962C8B-B14F-4D97-AF65-F5344CB8AC3E}">
        <p14:creationId xmlns:p14="http://schemas.microsoft.com/office/powerpoint/2010/main" val="583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6" name="Footer Placeholder 3"/>
          <p:cNvSpPr>
            <a:spLocks noGrp="1"/>
          </p:cNvSpPr>
          <p:nvPr>
            <p:ph type="ftr" sz="quarter" idx="4294967295"/>
          </p:nvPr>
        </p:nvSpPr>
        <p:spPr>
          <a:xfrm>
            <a:off x="8444981" y="6591302"/>
            <a:ext cx="3937000" cy="303320"/>
          </a:xfrm>
          <a:prstGeom prst="rect">
            <a:avLst/>
          </a:prstGeom>
        </p:spPr>
        <p:txBody>
          <a:bodyPr/>
          <a:lstStyle>
            <a:lvl1pPr>
              <a:defRPr sz="1800"/>
            </a:lvl1pPr>
          </a:lstStyle>
          <a:p>
            <a:pPr algn="r">
              <a:defRPr/>
            </a:pPr>
            <a:r>
              <a:rPr lang="en-US">
                <a:gradFill>
                  <a:gsLst>
                    <a:gs pos="2239">
                      <a:srgbClr val="505050"/>
                    </a:gs>
                    <a:gs pos="11940">
                      <a:srgbClr val="505050"/>
                    </a:gs>
                  </a:gsLst>
                  <a:lin ang="5400000" scaled="0"/>
                </a:gradFill>
              </a:rPr>
              <a:t>Confidential under NDA</a:t>
            </a:r>
          </a:p>
        </p:txBody>
      </p:sp>
    </p:spTree>
    <p:extLst>
      <p:ext uri="{BB962C8B-B14F-4D97-AF65-F5344CB8AC3E}">
        <p14:creationId xmlns:p14="http://schemas.microsoft.com/office/powerpoint/2010/main" val="118518351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1326996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719852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1247715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9" cy="914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40" y="1697064"/>
            <a:ext cx="10972799" cy="1965734"/>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499449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7" cy="742187"/>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761039" y="1211264"/>
            <a:ext cx="6400799" cy="603741"/>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86554065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4843614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4" name="Content Placeholder 3"/>
          <p:cNvSpPr>
            <a:spLocks noGrp="1"/>
          </p:cNvSpPr>
          <p:nvPr>
            <p:ph sz="quarter" idx="10"/>
          </p:nvPr>
        </p:nvSpPr>
        <p:spPr>
          <a:xfrm>
            <a:off x="274638" y="1697038"/>
            <a:ext cx="9144000" cy="686861"/>
          </a:xfr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151767633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1697063"/>
            <a:ext cx="3657600" cy="437634"/>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75039385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436475" cy="742187"/>
          </a:xfrm>
        </p:spPr>
        <p:txBody>
          <a:bodyPr/>
          <a:lstStyle/>
          <a:p>
            <a:r>
              <a:rPr lang="en-US"/>
              <a:t>Click icon to add picture</a:t>
            </a:r>
          </a:p>
        </p:txBody>
      </p:sp>
      <p:sp>
        <p:nvSpPr>
          <p:cNvPr id="2" name="Title 1"/>
          <p:cNvSpPr>
            <a:spLocks noGrp="1"/>
          </p:cNvSpPr>
          <p:nvPr>
            <p:ph type="title"/>
          </p:nvPr>
        </p:nvSpPr>
        <p:spPr/>
        <p:txBody>
          <a:bodyPr/>
          <a:lstStyle>
            <a:lvl1pPr>
              <a:defRPr sz="4799">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0525896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9"/>
            <a:ext cx="11889564" cy="752093"/>
          </a:xfrm>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3040064"/>
            <a:ext cx="11887200" cy="520687"/>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61288922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410558285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125695554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2517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752180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122490"/>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7084847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3"/>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68409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129451"/>
            <a:ext cx="11889564" cy="917575"/>
          </a:xfrm>
        </p:spPr>
        <p:txBody>
          <a:bodyPr/>
          <a:lstStyle>
            <a:lvl1pPr>
              <a:defRPr sz="6000"/>
            </a:lvl1pPr>
          </a:lstStyle>
          <a:p>
            <a:r>
              <a:rPr lang="en-US"/>
              <a:t>Thank you</a:t>
            </a:r>
          </a:p>
        </p:txBody>
      </p:sp>
    </p:spTree>
    <p:extLst>
      <p:ext uri="{BB962C8B-B14F-4D97-AF65-F5344CB8AC3E}">
        <p14:creationId xmlns:p14="http://schemas.microsoft.com/office/powerpoint/2010/main" val="205266014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5"/>
            <a:ext cx="11887200" cy="1831975"/>
          </a:xfrm>
          <a:noFill/>
        </p:spPr>
        <p:txBody>
          <a:bodyPr tIns="91440" bIns="91440" anchor="t" anchorCtr="0"/>
          <a:lstStyle>
            <a:lvl1pPr>
              <a:defRPr sz="8798" spc="-101"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7518917"/>
      </p:ext>
    </p:extLst>
  </p:cSld>
  <p:clrMapOvr>
    <a:overrideClrMapping bg1="dk1" tx1="lt1" bg2="dk2" tx2="lt2" accent1="accent1" accent2="accent2" accent3="accent3" accent4="accent4" accent5="accent5" accent6="accent6" hlink="hlink" folHlink="folHlink"/>
  </p:clrMapOvr>
  <p:transition advClick="0" advTm="10000">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1062" y="109508"/>
            <a:ext cx="12134045" cy="6334507"/>
          </a:xfrm>
          <a:prstGeom prst="rect">
            <a:avLst/>
          </a:prstGeom>
        </p:spPr>
      </p:pic>
    </p:spTree>
    <p:extLst>
      <p:ext uri="{BB962C8B-B14F-4D97-AF65-F5344CB8AC3E}">
        <p14:creationId xmlns:p14="http://schemas.microsoft.com/office/powerpoint/2010/main" val="253791325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and content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620"/>
          <a:ext cx="1619" cy="1620"/>
        </p:xfrm>
        <a:graphic>
          <a:graphicData uri="http://schemas.openxmlformats.org/presentationml/2006/ole">
            <mc:AlternateContent xmlns:mc="http://schemas.openxmlformats.org/markup-compatibility/2006">
              <mc:Choice xmlns:v="urn:schemas-microsoft-com:vml" Requires="v">
                <p:oleObj spid="_x0000_s1026" name="think-cell Slide" r:id="rId12" imgW="270" imgH="270" progId="TCLayout.ActiveDocument.1">
                  <p:embed/>
                </p:oleObj>
              </mc:Choice>
              <mc:Fallback>
                <p:oleObj name="think-cell Slide" r:id="rId12" imgW="270" imgH="270" progId="TCLayout.ActiveDocument.1">
                  <p:embed/>
                  <p:pic>
                    <p:nvPicPr>
                      <p:cNvPr id="3" name="Object 2" hidden="1"/>
                      <p:cNvPicPr/>
                      <p:nvPr/>
                    </p:nvPicPr>
                    <p:blipFill>
                      <a:blip r:embed="rId13"/>
                      <a:stretch>
                        <a:fillRect/>
                      </a:stretch>
                    </p:blipFill>
                    <p:spPr>
                      <a:xfrm>
                        <a:off x="1621" y="1620"/>
                        <a:ext cx="1619" cy="1620"/>
                      </a:xfrm>
                      <a:prstGeom prst="rect">
                        <a:avLst/>
                      </a:prstGeom>
                    </p:spPr>
                  </p:pic>
                </p:oleObj>
              </mc:Fallback>
            </mc:AlternateContent>
          </a:graphicData>
        </a:graphic>
      </p:graphicFrame>
      <p:sp>
        <p:nvSpPr>
          <p:cNvPr id="16" name="Rectangle 15"/>
          <p:cNvSpPr/>
          <p:nvPr userDrawn="1">
            <p:custDataLst>
              <p:tags r:id="rId3"/>
            </p:custDataLst>
          </p:nvPr>
        </p:nvSpPr>
        <p:spPr>
          <a:xfrm>
            <a:off x="9" y="6607573"/>
            <a:ext cx="12436474" cy="386966"/>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7675" tIns="38838" rIns="77675" bIns="38838" rtlCol="0" anchor="ctr"/>
          <a:lstStyle/>
          <a:p>
            <a:pPr algn="ctr" defTabSz="1109507"/>
            <a:endParaRPr lang="en-US" sz="2244">
              <a:solidFill>
                <a:prstClr val="white"/>
              </a:solidFill>
            </a:endParaRPr>
          </a:p>
        </p:txBody>
      </p:sp>
      <p:sp>
        <p:nvSpPr>
          <p:cNvPr id="2" name="Title 1"/>
          <p:cNvSpPr>
            <a:spLocks noGrp="1"/>
          </p:cNvSpPr>
          <p:nvPr>
            <p:ph type="title"/>
            <p:custDataLst>
              <p:tags r:id="rId4"/>
            </p:custDataLst>
          </p:nvPr>
        </p:nvSpPr>
        <p:spPr>
          <a:xfrm>
            <a:off x="777284" y="5"/>
            <a:ext cx="11659195" cy="658902"/>
          </a:xfrm>
        </p:spPr>
        <p:txBody>
          <a:bodyPr>
            <a:noAutofit/>
          </a:bodyPr>
          <a:lstStyle>
            <a:lvl1pPr>
              <a:defRPr/>
            </a:lvl1pPr>
          </a:lstStyle>
          <a:p>
            <a:endParaRPr lang="en-US"/>
          </a:p>
        </p:txBody>
      </p:sp>
      <p:sp>
        <p:nvSpPr>
          <p:cNvPr id="6" name="Text Placeholder 5"/>
          <p:cNvSpPr>
            <a:spLocks noGrp="1"/>
          </p:cNvSpPr>
          <p:nvPr>
            <p:ph type="body" sz="quarter" idx="12" hasCustomPrompt="1"/>
            <p:custDataLst>
              <p:tags r:id="rId5"/>
            </p:custDataLst>
          </p:nvPr>
        </p:nvSpPr>
        <p:spPr>
          <a:xfrm>
            <a:off x="777284" y="585038"/>
            <a:ext cx="11659195" cy="380490"/>
          </a:xfrm>
          <a:prstGeom prst="rect">
            <a:avLst/>
          </a:prstGeom>
        </p:spPr>
        <p:txBody>
          <a:bodyPr lIns="380851" tIns="53319" rIns="53319" bIns="53319">
            <a:noAutofit/>
          </a:bodyPr>
          <a:lstStyle>
            <a:lvl1pPr marL="0" indent="0">
              <a:buNone/>
              <a:defRPr sz="2856">
                <a:latin typeface="Segoe UI Light" pitchFamily="34" charset="0"/>
              </a:defRPr>
            </a:lvl1pPr>
            <a:lvl2pPr marL="287214" indent="0">
              <a:buNone/>
              <a:defRPr/>
            </a:lvl2pPr>
            <a:lvl3pPr marL="600051" indent="0">
              <a:buNone/>
              <a:defRPr/>
            </a:lvl3pPr>
            <a:lvl4pPr marL="887265" indent="0">
              <a:buNone/>
              <a:defRPr/>
            </a:lvl4pPr>
            <a:lvl5pPr marL="1127285" indent="0">
              <a:buNone/>
              <a:defRPr/>
            </a:lvl5pPr>
          </a:lstStyle>
          <a:p>
            <a:pPr lvl="0"/>
            <a:r>
              <a:rPr lang="en-US"/>
              <a:t>Click to add subtitle</a:t>
            </a:r>
          </a:p>
        </p:txBody>
      </p:sp>
      <p:sp>
        <p:nvSpPr>
          <p:cNvPr id="4" name="Text Placeholder 3"/>
          <p:cNvSpPr>
            <a:spLocks noGrp="1"/>
          </p:cNvSpPr>
          <p:nvPr>
            <p:ph type="body" sz="quarter" idx="15" hasCustomPrompt="1"/>
            <p:custDataLst>
              <p:tags r:id="rId6"/>
            </p:custDataLst>
          </p:nvPr>
        </p:nvSpPr>
        <p:spPr>
          <a:xfrm>
            <a:off x="1573459" y="1554340"/>
            <a:ext cx="10085745" cy="2294636"/>
          </a:xfrm>
          <a:prstGeom prst="rect">
            <a:avLst/>
          </a:prstGeo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userDrawn="1">
            <p:custDataLst>
              <p:tags r:id="rId7"/>
            </p:custDataLst>
          </p:nvPr>
        </p:nvSpPr>
        <p:spPr>
          <a:xfrm>
            <a:off x="1" y="4"/>
            <a:ext cx="777280" cy="6994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7668" tIns="38834" rIns="77668" bIns="38834" rtlCol="0" anchor="ctr">
            <a:noAutofit/>
          </a:bodyPr>
          <a:lstStyle/>
          <a:p>
            <a:pPr algn="ctr" defTabSz="1109507"/>
            <a:endParaRPr lang="en-US" sz="2244">
              <a:solidFill>
                <a:prstClr val="white"/>
              </a:solidFill>
            </a:endParaRPr>
          </a:p>
        </p:txBody>
      </p:sp>
      <p:sp>
        <p:nvSpPr>
          <p:cNvPr id="15" name="Slide Number Placeholder 4"/>
          <p:cNvSpPr>
            <a:spLocks noGrp="1"/>
          </p:cNvSpPr>
          <p:nvPr>
            <p:ph type="sldNum" sz="quarter" idx="16"/>
            <p:custDataLst>
              <p:tags r:id="rId8"/>
            </p:custDataLst>
          </p:nvPr>
        </p:nvSpPr>
        <p:spPr>
          <a:xfrm>
            <a:off x="11659205" y="6607573"/>
            <a:ext cx="777279" cy="386966"/>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10" name="Footer Placeholder 3"/>
          <p:cNvSpPr>
            <a:spLocks noGrp="1"/>
          </p:cNvSpPr>
          <p:nvPr>
            <p:ph type="ftr" sz="quarter" idx="11"/>
            <p:custDataLst>
              <p:tags r:id="rId9"/>
            </p:custDataLst>
          </p:nvPr>
        </p:nvSpPr>
        <p:spPr>
          <a:xfrm>
            <a:off x="3109127" y="6606846"/>
            <a:ext cx="8550077" cy="387694"/>
          </a:xfrm>
        </p:spPr>
        <p:txBody>
          <a:bodyPr/>
          <a:lstStyle/>
          <a:p>
            <a:endParaRPr lang="en-US">
              <a:solidFill>
                <a:srgbClr val="505050"/>
              </a:solidFill>
            </a:endParaRPr>
          </a:p>
        </p:txBody>
      </p:sp>
      <p:sp>
        <p:nvSpPr>
          <p:cNvPr id="11" name="Footer Placeholder 2"/>
          <p:cNvSpPr txBox="1">
            <a:spLocks/>
          </p:cNvSpPr>
          <p:nvPr userDrawn="1">
            <p:custDataLst>
              <p:tags r:id="rId10"/>
            </p:custDataLst>
          </p:nvPr>
        </p:nvSpPr>
        <p:spPr>
          <a:xfrm>
            <a:off x="777281" y="6607573"/>
            <a:ext cx="2331839" cy="386966"/>
          </a:xfrm>
          <a:prstGeom prst="rect">
            <a:avLst/>
          </a:prstGeom>
        </p:spPr>
        <p:txBody>
          <a:bodyPr lIns="388378" tIns="38838" rIns="77675" bIns="38838"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16">
                <a:solidFill>
                  <a:srgbClr val="505050"/>
                </a:solidFill>
                <a:ea typeface="Segoe UI" pitchFamily="34" charset="0"/>
                <a:cs typeface="Segoe UI" pitchFamily="34" charset="0"/>
              </a:rPr>
              <a:t>PEAT | MICROSOFT CONFIDENTIAL</a:t>
            </a:r>
          </a:p>
        </p:txBody>
      </p:sp>
    </p:spTree>
    <p:extLst>
      <p:ext uri="{BB962C8B-B14F-4D97-AF65-F5344CB8AC3E}">
        <p14:creationId xmlns:p14="http://schemas.microsoft.com/office/powerpoint/2010/main" val="216742354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8373361"/>
      </p:ext>
    </p:extLst>
  </p:cSld>
  <p:clrMapOvr>
    <a:masterClrMapping/>
  </p:clrMapOvr>
  <p:transition>
    <p:fade/>
  </p:transition>
  <p:hf hdr="0" ft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image" Target="../media/image2.png"/><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theme" Target="../theme/theme3.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slideLayout" Target="../slideLayouts/slideLayout88.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slideLayout" Target="../slideLayouts/slideLayout91.xml"/><Relationship Id="rId47" Type="http://schemas.openxmlformats.org/officeDocument/2006/relationships/slideLayout" Target="../slideLayouts/slideLayout96.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46" Type="http://schemas.openxmlformats.org/officeDocument/2006/relationships/slideLayout" Target="../slideLayouts/slideLayout95.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slideLayout" Target="../slideLayouts/slideLayout78.xml"/><Relationship Id="rId41" Type="http://schemas.openxmlformats.org/officeDocument/2006/relationships/slideLayout" Target="../slideLayouts/slideLayout90.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45" Type="http://schemas.openxmlformats.org/officeDocument/2006/relationships/slideLayout" Target="../slideLayouts/slideLayout94.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49" Type="http://schemas.openxmlformats.org/officeDocument/2006/relationships/theme" Target="../theme/theme4.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4" Type="http://schemas.openxmlformats.org/officeDocument/2006/relationships/slideLayout" Target="../slideLayouts/slideLayout9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slideLayout" Target="../slideLayouts/slideLayout92.xml"/><Relationship Id="rId48" Type="http://schemas.openxmlformats.org/officeDocument/2006/relationships/slideLayout" Target="../slideLayouts/slideLayout97.xml"/><Relationship Id="rId8"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79426"/>
            <a:ext cx="11522075" cy="731838"/>
          </a:xfrm>
          <a:prstGeom prst="rect">
            <a:avLst/>
          </a:prstGeom>
        </p:spPr>
        <p:txBody>
          <a:bodyPr vert="horz" wrap="square" lIns="0" tIns="0" rIns="0" bIns="0" rtlCol="0" anchor="t">
            <a:noAutofit/>
          </a:bodyPr>
          <a:lstStyle/>
          <a:p>
            <a:r>
              <a:rPr lang="en-US"/>
              <a:t>Click to edit Master title style</a:t>
            </a:r>
          </a:p>
        </p:txBody>
      </p:sp>
      <p:pic>
        <p:nvPicPr>
          <p:cNvPr id="3" name="Picture 2"/>
          <p:cNvPicPr>
            <a:picLocks noChangeAspect="1"/>
          </p:cNvPicPr>
          <p:nvPr userDrawn="1"/>
        </p:nvPicPr>
        <p:blipFill>
          <a:blip r:embed="rId5"/>
          <a:stretch>
            <a:fillRect/>
          </a:stretch>
        </p:blipFill>
        <p:spPr>
          <a:xfrm>
            <a:off x="12570977" y="0"/>
            <a:ext cx="1424574" cy="6990776"/>
          </a:xfrm>
          <a:prstGeom prst="rect">
            <a:avLst/>
          </a:prstGeom>
        </p:spPr>
      </p:pic>
    </p:spTree>
    <p:extLst>
      <p:ext uri="{BB962C8B-B14F-4D97-AF65-F5344CB8AC3E}">
        <p14:creationId xmlns:p14="http://schemas.microsoft.com/office/powerpoint/2010/main" val="2128645933"/>
      </p:ext>
    </p:extLst>
  </p:cSld>
  <p:clrMap bg1="lt1" tx1="dk1" bg2="lt2" tx2="dk2" accent1="accent1" accent2="accent2" accent3="accent3" accent4="accent4" accent5="accent5" accent6="accent6" hlink="hlink" folHlink="folHlink"/>
  <p:sldLayoutIdLst>
    <p:sldLayoutId id="2147484185" r:id="rId1"/>
    <p:sldLayoutId id="2147484203" r:id="rId2"/>
    <p:sldLayoutId id="2147484219" r:id="rId3"/>
  </p:sldLayoutIdLst>
  <p:transition>
    <p:fade/>
  </p:transition>
  <p:hf hdr="0" ftr="0" dt="0"/>
  <p:txStyles>
    <p:titleStyle>
      <a:lvl1pPr algn="l" defTabSz="932742" rtl="0" eaLnBrk="1" latinLnBrk="0" hangingPunct="1">
        <a:lnSpc>
          <a:spcPct val="90000"/>
        </a:lnSpc>
        <a:spcBef>
          <a:spcPct val="0"/>
        </a:spcBef>
        <a:buNone/>
        <a:defRPr lang="en-US" sz="2400" b="0" kern="1200" cap="none" spc="-50" baseline="0" dirty="0" smtClean="0">
          <a:ln w="3175">
            <a:noFill/>
          </a:ln>
          <a:solidFill>
            <a:schemeClr val="tx1">
              <a:lumMod val="50000"/>
            </a:schemeClr>
          </a:solidFill>
          <a:effectLst/>
          <a:latin typeface="Segoe UI Semilight" panose="020B0402040204020203" pitchFamily="34" charset="0"/>
          <a:ea typeface="+mn-ea"/>
          <a:cs typeface="Segoe UI Semilight" panose="020B0402040204020203"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794121376"/>
      </p:ext>
    </p:extLst>
  </p:cSld>
  <p:clrMap bg1="lt1" tx1="dk1" bg2="lt2" tx2="dk2" accent1="accent1" accent2="accent2" accent3="accent3" accent4="accent4" accent5="accent5" accent6="accent6" hlink="hlink" folHlink="folHlink"/>
  <p:sldLayoutIdLst>
    <p:sldLayoutId id="2147484221" r:id="rId1"/>
    <p:sldLayoutId id="2147484222" r:id="rId2"/>
    <p:sldLayoutId id="2147484223" r:id="rId3"/>
    <p:sldLayoutId id="2147484224" r:id="rId4"/>
    <p:sldLayoutId id="2147484225" r:id="rId5"/>
    <p:sldLayoutId id="2147484226" r:id="rId6"/>
    <p:sldLayoutId id="2147484227" r:id="rId7"/>
    <p:sldLayoutId id="2147484228" r:id="rId8"/>
    <p:sldLayoutId id="2147484229" r:id="rId9"/>
    <p:sldLayoutId id="2147484230" r:id="rId10"/>
    <p:sldLayoutId id="2147484231" r:id="rId11"/>
    <p:sldLayoutId id="2147484232" r:id="rId12"/>
    <p:sldLayoutId id="2147484233" r:id="rId13"/>
    <p:sldLayoutId id="2147484234" r:id="rId14"/>
    <p:sldLayoutId id="2147484235" r:id="rId15"/>
    <p:sldLayoutId id="2147484236" r:id="rId16"/>
    <p:sldLayoutId id="2147484237" r:id="rId17"/>
    <p:sldLayoutId id="2147484238" r:id="rId18"/>
    <p:sldLayoutId id="2147484239" r:id="rId19"/>
    <p:sldLayoutId id="2147484240" r:id="rId20"/>
    <p:sldLayoutId id="2147484241" r:id="rId21"/>
    <p:sldLayoutId id="2147484242" r:id="rId22"/>
    <p:sldLayoutId id="2147484243" r:id="rId23"/>
    <p:sldLayoutId id="2147484244" r:id="rId24"/>
    <p:sldLayoutId id="2147484245" r:id="rId25"/>
    <p:sldLayoutId id="2147484246" r:id="rId26"/>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56404" y="1476622"/>
            <a:ext cx="7448792" cy="263672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2"/>
          <p:cNvSpPr>
            <a:spLocks noGrp="1"/>
          </p:cNvSpPr>
          <p:nvPr>
            <p:ph type="sldNum" sz="quarter" idx="4"/>
          </p:nvPr>
        </p:nvSpPr>
        <p:spPr>
          <a:xfrm>
            <a:off x="9223719" y="6482890"/>
            <a:ext cx="2901844" cy="372394"/>
          </a:xfrm>
          <a:prstGeom prst="rect">
            <a:avLst/>
          </a:prstGeom>
        </p:spPr>
        <p:txBody>
          <a:bodyPr/>
          <a:lstStyle>
            <a:lvl1pPr algn="r">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2230390556"/>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 id="2147484264" r:id="rId17"/>
    <p:sldLayoutId id="2147484265" r:id="rId18"/>
    <p:sldLayoutId id="2147484266" r:id="rId19"/>
    <p:sldLayoutId id="2147484267" r:id="rId20"/>
  </p:sldLayoutIdLst>
  <p:transition>
    <p:fade/>
  </p:transition>
  <p:hf hdr="0" ftr="0" dt="0"/>
  <p:txStyles>
    <p:titleStyle>
      <a:lvl1pPr algn="l" defTabSz="1243380" rtl="0" eaLnBrk="1" latinLnBrk="0" hangingPunct="1">
        <a:lnSpc>
          <a:spcPct val="90000"/>
        </a:lnSpc>
        <a:spcBef>
          <a:spcPct val="0"/>
        </a:spcBef>
        <a:buNone/>
        <a:defRPr lang="en-US" sz="5439" b="0" kern="1200" cap="none" spc="-136"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10857" indent="-310857" algn="l" defTabSz="1243380" rtl="0" eaLnBrk="1" latinLnBrk="0" hangingPunct="1">
        <a:lnSpc>
          <a:spcPct val="100000"/>
        </a:lnSpc>
        <a:spcBef>
          <a:spcPts val="816"/>
        </a:spcBef>
        <a:buSzPct val="80000"/>
        <a:buFont typeface="Arial" pitchFamily="34" charset="0"/>
        <a:buChar char="•"/>
        <a:defRPr sz="3807" kern="1200">
          <a:gradFill>
            <a:gsLst>
              <a:gs pos="0">
                <a:schemeClr val="tx1"/>
              </a:gs>
              <a:gs pos="86000">
                <a:schemeClr val="tx1"/>
              </a:gs>
            </a:gsLst>
            <a:lin ang="5400000" scaled="0"/>
          </a:gradFill>
          <a:latin typeface="+mn-lt"/>
          <a:ea typeface="+mn-ea"/>
          <a:cs typeface="+mn-cs"/>
        </a:defRPr>
      </a:lvl1pPr>
      <a:lvl2pPr marL="621716" indent="-306540" algn="l" defTabSz="1243380" rtl="0" eaLnBrk="1" latinLnBrk="0" hangingPunct="1">
        <a:lnSpc>
          <a:spcPct val="100000"/>
        </a:lnSpc>
        <a:spcBef>
          <a:spcPts val="816"/>
        </a:spcBef>
        <a:buSzPct val="80000"/>
        <a:buFont typeface="Arial" pitchFamily="34" charset="0"/>
        <a:buChar char="•"/>
        <a:defRPr sz="3264" kern="1200">
          <a:gradFill>
            <a:gsLst>
              <a:gs pos="0">
                <a:schemeClr val="tx1"/>
              </a:gs>
              <a:gs pos="86000">
                <a:schemeClr val="tx1"/>
              </a:gs>
            </a:gsLst>
            <a:lin ang="5400000" scaled="0"/>
          </a:gradFill>
          <a:latin typeface="+mn-lt"/>
          <a:ea typeface="+mn-ea"/>
          <a:cs typeface="+mn-cs"/>
        </a:defRPr>
      </a:lvl2pPr>
      <a:lvl3pPr marL="932573" indent="-310857" algn="l" defTabSz="1243380" rtl="0" eaLnBrk="1" latinLnBrk="0" hangingPunct="1">
        <a:lnSpc>
          <a:spcPct val="100000"/>
        </a:lnSpc>
        <a:spcBef>
          <a:spcPts val="816"/>
        </a:spcBef>
        <a:buSzPct val="80000"/>
        <a:buFont typeface="Arial" pitchFamily="34" charset="0"/>
        <a:buChar char="•"/>
        <a:defRPr sz="2720" kern="1200">
          <a:gradFill>
            <a:gsLst>
              <a:gs pos="0">
                <a:schemeClr val="tx1"/>
              </a:gs>
              <a:gs pos="86000">
                <a:schemeClr val="tx1"/>
              </a:gs>
            </a:gsLst>
            <a:lin ang="5400000" scaled="0"/>
          </a:gradFill>
          <a:latin typeface="+mn-lt"/>
          <a:ea typeface="+mn-ea"/>
          <a:cs typeface="+mn-cs"/>
        </a:defRPr>
      </a:lvl3pPr>
      <a:lvl4pPr marL="1243431" indent="-308699" algn="l" defTabSz="1243380" rtl="0" eaLnBrk="1" latinLnBrk="0" hangingPunct="1">
        <a:lnSpc>
          <a:spcPct val="100000"/>
        </a:lnSpc>
        <a:spcBef>
          <a:spcPts val="816"/>
        </a:spcBef>
        <a:buSzPct val="80000"/>
        <a:buFont typeface="Arial" pitchFamily="34" charset="0"/>
        <a:buChar char="•"/>
        <a:defRPr sz="2448" kern="1200">
          <a:gradFill>
            <a:gsLst>
              <a:gs pos="0">
                <a:schemeClr val="tx1"/>
              </a:gs>
              <a:gs pos="86000">
                <a:schemeClr val="tx1"/>
              </a:gs>
            </a:gsLst>
            <a:lin ang="5400000" scaled="0"/>
          </a:gradFill>
          <a:latin typeface="+mn-lt"/>
          <a:ea typeface="+mn-ea"/>
          <a:cs typeface="+mn-cs"/>
        </a:defRPr>
      </a:lvl4pPr>
      <a:lvl5pPr marL="1554289" indent="-310857" algn="l" defTabSz="1243380" rtl="0" eaLnBrk="1" latinLnBrk="0" hangingPunct="1">
        <a:lnSpc>
          <a:spcPct val="100000"/>
        </a:lnSpc>
        <a:spcBef>
          <a:spcPts val="816"/>
        </a:spcBef>
        <a:buSzPct val="80000"/>
        <a:buFont typeface="Arial" pitchFamily="34" charset="0"/>
        <a:buChar char="•"/>
        <a:defRPr sz="2175" kern="1200">
          <a:gradFill>
            <a:gsLst>
              <a:gs pos="0">
                <a:schemeClr val="tx1"/>
              </a:gs>
              <a:gs pos="86000">
                <a:schemeClr val="tx1"/>
              </a:gs>
            </a:gsLst>
            <a:lin ang="5400000" scaled="0"/>
          </a:gradFill>
          <a:latin typeface="+mn-lt"/>
          <a:ea typeface="+mn-ea"/>
          <a:cs typeface="+mn-cs"/>
        </a:defRPr>
      </a:lvl5pPr>
      <a:lvl6pPr marL="1862988" indent="-308699" algn="l" defTabSz="1243380" rtl="0" eaLnBrk="1" latinLnBrk="0" hangingPunct="1">
        <a:lnSpc>
          <a:spcPct val="100000"/>
        </a:lnSpc>
        <a:spcBef>
          <a:spcPts val="816"/>
        </a:spcBef>
        <a:buFont typeface="Arial" pitchFamily="34" charset="0"/>
        <a:buChar char="•"/>
        <a:defRPr sz="1904" kern="1200">
          <a:solidFill>
            <a:schemeClr val="tx1"/>
          </a:solidFill>
          <a:latin typeface="+mn-lt"/>
          <a:ea typeface="+mn-ea"/>
          <a:cs typeface="+mn-cs"/>
        </a:defRPr>
      </a:lvl6pPr>
      <a:lvl7pPr marL="4040989"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7pPr>
      <a:lvl8pPr marL="4662680"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8pPr>
      <a:lvl9pPr marL="5284371"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9pPr>
    </p:bodyStyle>
    <p:otherStyle>
      <a:defPPr>
        <a:defRPr lang="en-US"/>
      </a:defPPr>
      <a:lvl1pPr marL="0" algn="l" defTabSz="1243380" rtl="0" eaLnBrk="1" latinLnBrk="0" hangingPunct="1">
        <a:defRPr sz="2448" kern="1200">
          <a:solidFill>
            <a:schemeClr val="tx1"/>
          </a:solidFill>
          <a:latin typeface="+mn-lt"/>
          <a:ea typeface="+mn-ea"/>
          <a:cs typeface="+mn-cs"/>
        </a:defRPr>
      </a:lvl1pPr>
      <a:lvl2pPr marL="621691" algn="l" defTabSz="1243380" rtl="0" eaLnBrk="1" latinLnBrk="0" hangingPunct="1">
        <a:defRPr sz="2448" kern="1200">
          <a:solidFill>
            <a:schemeClr val="tx1"/>
          </a:solidFill>
          <a:latin typeface="+mn-lt"/>
          <a:ea typeface="+mn-ea"/>
          <a:cs typeface="+mn-cs"/>
        </a:defRPr>
      </a:lvl2pPr>
      <a:lvl3pPr marL="1243380" algn="l" defTabSz="1243380" rtl="0" eaLnBrk="1" latinLnBrk="0" hangingPunct="1">
        <a:defRPr sz="2448" kern="1200">
          <a:solidFill>
            <a:schemeClr val="tx1"/>
          </a:solidFill>
          <a:latin typeface="+mn-lt"/>
          <a:ea typeface="+mn-ea"/>
          <a:cs typeface="+mn-cs"/>
        </a:defRPr>
      </a:lvl3pPr>
      <a:lvl4pPr marL="1865072" algn="l" defTabSz="1243380" rtl="0" eaLnBrk="1" latinLnBrk="0" hangingPunct="1">
        <a:defRPr sz="2448" kern="1200">
          <a:solidFill>
            <a:schemeClr val="tx1"/>
          </a:solidFill>
          <a:latin typeface="+mn-lt"/>
          <a:ea typeface="+mn-ea"/>
          <a:cs typeface="+mn-cs"/>
        </a:defRPr>
      </a:lvl4pPr>
      <a:lvl5pPr marL="2486763" algn="l" defTabSz="1243380" rtl="0" eaLnBrk="1" latinLnBrk="0" hangingPunct="1">
        <a:defRPr sz="2448" kern="1200">
          <a:solidFill>
            <a:schemeClr val="tx1"/>
          </a:solidFill>
          <a:latin typeface="+mn-lt"/>
          <a:ea typeface="+mn-ea"/>
          <a:cs typeface="+mn-cs"/>
        </a:defRPr>
      </a:lvl5pPr>
      <a:lvl6pPr marL="3108453" algn="l" defTabSz="1243380" rtl="0" eaLnBrk="1" latinLnBrk="0" hangingPunct="1">
        <a:defRPr sz="2448" kern="1200">
          <a:solidFill>
            <a:schemeClr val="tx1"/>
          </a:solidFill>
          <a:latin typeface="+mn-lt"/>
          <a:ea typeface="+mn-ea"/>
          <a:cs typeface="+mn-cs"/>
        </a:defRPr>
      </a:lvl6pPr>
      <a:lvl7pPr marL="3730144" algn="l" defTabSz="1243380" rtl="0" eaLnBrk="1" latinLnBrk="0" hangingPunct="1">
        <a:defRPr sz="2448" kern="1200">
          <a:solidFill>
            <a:schemeClr val="tx1"/>
          </a:solidFill>
          <a:latin typeface="+mn-lt"/>
          <a:ea typeface="+mn-ea"/>
          <a:cs typeface="+mn-cs"/>
        </a:defRPr>
      </a:lvl7pPr>
      <a:lvl8pPr marL="4351835" algn="l" defTabSz="1243380" rtl="0" eaLnBrk="1" latinLnBrk="0" hangingPunct="1">
        <a:defRPr sz="2448" kern="1200">
          <a:solidFill>
            <a:schemeClr val="tx1"/>
          </a:solidFill>
          <a:latin typeface="+mn-lt"/>
          <a:ea typeface="+mn-ea"/>
          <a:cs typeface="+mn-cs"/>
        </a:defRPr>
      </a:lvl8pPr>
      <a:lvl9pPr marL="4973525" algn="l" defTabSz="1243380" rtl="0" eaLnBrk="1" latinLnBrk="0" hangingPunct="1">
        <a:defRPr sz="244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900"/>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2"/>
            <a:ext cx="11887197" cy="229463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634" rtl="0" eaLnBrk="1" latinLnBrk="0" hangingPunct="1">
              <a:defRPr lang="en-US" sz="901"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2" y="6689365"/>
            <a:ext cx="566737" cy="137160"/>
          </a:xfrm>
          <a:prstGeom prst="rect">
            <a:avLst/>
          </a:prstGeom>
        </p:spPr>
        <p:txBody>
          <a:bodyPr vert="horz" lIns="91440" tIns="0" rIns="0" bIns="0" rtlCol="0" anchor="ctr"/>
          <a:lstStyle>
            <a:lvl1pPr algn="r">
              <a:defRPr lang="en-US" sz="901"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897875552"/>
      </p:ext>
    </p:extLst>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 id="2147484311" r:id="rId11"/>
    <p:sldLayoutId id="2147484312" r:id="rId12"/>
    <p:sldLayoutId id="2147484313" r:id="rId13"/>
    <p:sldLayoutId id="2147484314" r:id="rId14"/>
    <p:sldLayoutId id="2147484315" r:id="rId15"/>
    <p:sldLayoutId id="2147484316" r:id="rId16"/>
    <p:sldLayoutId id="2147484317" r:id="rId17"/>
    <p:sldLayoutId id="2147484318" r:id="rId18"/>
    <p:sldLayoutId id="2147484319" r:id="rId19"/>
    <p:sldLayoutId id="2147484320" r:id="rId20"/>
    <p:sldLayoutId id="2147484321" r:id="rId21"/>
    <p:sldLayoutId id="2147484322" r:id="rId22"/>
    <p:sldLayoutId id="2147484323" r:id="rId23"/>
    <p:sldLayoutId id="2147484324" r:id="rId24"/>
    <p:sldLayoutId id="2147484325" r:id="rId25"/>
    <p:sldLayoutId id="2147484326" r:id="rId26"/>
    <p:sldLayoutId id="2147484327" r:id="rId27"/>
    <p:sldLayoutId id="2147484328" r:id="rId28"/>
    <p:sldLayoutId id="2147484329" r:id="rId29"/>
    <p:sldLayoutId id="2147484330" r:id="rId30"/>
    <p:sldLayoutId id="2147484331" r:id="rId31"/>
    <p:sldLayoutId id="2147484332" r:id="rId32"/>
    <p:sldLayoutId id="2147484333" r:id="rId33"/>
    <p:sldLayoutId id="2147484334" r:id="rId34"/>
    <p:sldLayoutId id="2147484335" r:id="rId35"/>
    <p:sldLayoutId id="2147484336" r:id="rId36"/>
    <p:sldLayoutId id="2147484337" r:id="rId37"/>
    <p:sldLayoutId id="2147484338" r:id="rId38"/>
    <p:sldLayoutId id="2147484339" r:id="rId39"/>
    <p:sldLayoutId id="2147484340" r:id="rId40"/>
    <p:sldLayoutId id="2147484341" r:id="rId41"/>
    <p:sldLayoutId id="2147484342" r:id="rId42"/>
    <p:sldLayoutId id="2147484343" r:id="rId43"/>
    <p:sldLayoutId id="2147484344" r:id="rId44"/>
    <p:sldLayoutId id="2147484345" r:id="rId45"/>
    <p:sldLayoutId id="2147484346" r:id="rId46"/>
    <p:sldLayoutId id="2147484347" r:id="rId47"/>
    <p:sldLayoutId id="2147484348" r:id="rId48"/>
  </p:sldLayoutIdLst>
  <p:transition>
    <p:fade/>
  </p:transition>
  <p:hf sldNum="0" hdr="0" dt="0"/>
  <p:txStyles>
    <p:titleStyle>
      <a:lvl1pPr algn="l" defTabSz="932634"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0" marR="0" indent="-342860" algn="l" defTabSz="932634"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132" marR="0" indent="-241273" algn="l" defTabSz="93263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09"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81"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56"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34" rtl="0" eaLnBrk="1" latinLnBrk="0" hangingPunct="1">
        <a:defRPr sz="1800" kern="1200">
          <a:solidFill>
            <a:schemeClr val="tx1"/>
          </a:solidFill>
          <a:latin typeface="+mn-lt"/>
          <a:ea typeface="+mn-ea"/>
          <a:cs typeface="+mn-cs"/>
        </a:defRPr>
      </a:lvl1pPr>
      <a:lvl2pPr marL="466318" algn="l" defTabSz="932634" rtl="0" eaLnBrk="1" latinLnBrk="0" hangingPunct="1">
        <a:defRPr sz="1800" kern="1200">
          <a:solidFill>
            <a:schemeClr val="tx1"/>
          </a:solidFill>
          <a:latin typeface="+mn-lt"/>
          <a:ea typeface="+mn-ea"/>
          <a:cs typeface="+mn-cs"/>
        </a:defRPr>
      </a:lvl2pPr>
      <a:lvl3pPr marL="932634" algn="l" defTabSz="932634" rtl="0" eaLnBrk="1" latinLnBrk="0" hangingPunct="1">
        <a:defRPr sz="1800" kern="1200">
          <a:solidFill>
            <a:schemeClr val="tx1"/>
          </a:solidFill>
          <a:latin typeface="+mn-lt"/>
          <a:ea typeface="+mn-ea"/>
          <a:cs typeface="+mn-cs"/>
        </a:defRPr>
      </a:lvl3pPr>
      <a:lvl4pPr marL="1398952" algn="l" defTabSz="932634" rtl="0" eaLnBrk="1" latinLnBrk="0" hangingPunct="1">
        <a:defRPr sz="1800" kern="1200">
          <a:solidFill>
            <a:schemeClr val="tx1"/>
          </a:solidFill>
          <a:latin typeface="+mn-lt"/>
          <a:ea typeface="+mn-ea"/>
          <a:cs typeface="+mn-cs"/>
        </a:defRPr>
      </a:lvl4pPr>
      <a:lvl5pPr marL="1865269" algn="l" defTabSz="932634" rtl="0" eaLnBrk="1" latinLnBrk="0" hangingPunct="1">
        <a:defRPr sz="1800" kern="1200">
          <a:solidFill>
            <a:schemeClr val="tx1"/>
          </a:solidFill>
          <a:latin typeface="+mn-lt"/>
          <a:ea typeface="+mn-ea"/>
          <a:cs typeface="+mn-cs"/>
        </a:defRPr>
      </a:lvl5pPr>
      <a:lvl6pPr marL="2331588" algn="l" defTabSz="932634" rtl="0" eaLnBrk="1" latinLnBrk="0" hangingPunct="1">
        <a:defRPr sz="1800" kern="1200">
          <a:solidFill>
            <a:schemeClr val="tx1"/>
          </a:solidFill>
          <a:latin typeface="+mn-lt"/>
          <a:ea typeface="+mn-ea"/>
          <a:cs typeface="+mn-cs"/>
        </a:defRPr>
      </a:lvl6pPr>
      <a:lvl7pPr marL="2797905" algn="l" defTabSz="932634" rtl="0" eaLnBrk="1" latinLnBrk="0" hangingPunct="1">
        <a:defRPr sz="1800" kern="1200">
          <a:solidFill>
            <a:schemeClr val="tx1"/>
          </a:solidFill>
          <a:latin typeface="+mn-lt"/>
          <a:ea typeface="+mn-ea"/>
          <a:cs typeface="+mn-cs"/>
        </a:defRPr>
      </a:lvl7pPr>
      <a:lvl8pPr marL="3264222" algn="l" defTabSz="932634" rtl="0" eaLnBrk="1" latinLnBrk="0" hangingPunct="1">
        <a:defRPr sz="1800" kern="1200">
          <a:solidFill>
            <a:schemeClr val="tx1"/>
          </a:solidFill>
          <a:latin typeface="+mn-lt"/>
          <a:ea typeface="+mn-ea"/>
          <a:cs typeface="+mn-cs"/>
        </a:defRPr>
      </a:lvl8pPr>
      <a:lvl9pPr marL="3730540" algn="l" defTabSz="93263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284">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292">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19.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97.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97.xm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a:grpSpLocks noChangeAspect="1"/>
          </p:cNvGrpSpPr>
          <p:nvPr/>
        </p:nvGrpSpPr>
        <p:grpSpPr bwMode="auto">
          <a:xfrm>
            <a:off x="-2455" y="-1011"/>
            <a:ext cx="12438930" cy="7106390"/>
            <a:chOff x="302" y="1344"/>
            <a:chExt cx="3582" cy="2079"/>
          </a:xfrm>
        </p:grpSpPr>
        <p:sp>
          <p:nvSpPr>
            <p:cNvPr id="4" name="AutoShape 3"/>
            <p:cNvSpPr>
              <a:spLocks noChangeAspect="1" noChangeArrowheads="1" noTextEdit="1"/>
            </p:cNvSpPr>
            <p:nvPr/>
          </p:nvSpPr>
          <p:spPr bwMode="auto">
            <a:xfrm>
              <a:off x="302" y="1344"/>
              <a:ext cx="3581" cy="2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 name="Rectangle 5"/>
            <p:cNvSpPr>
              <a:spLocks noChangeArrowheads="1"/>
            </p:cNvSpPr>
            <p:nvPr/>
          </p:nvSpPr>
          <p:spPr bwMode="auto">
            <a:xfrm>
              <a:off x="821"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 name="Rectangle 6"/>
            <p:cNvSpPr>
              <a:spLocks noChangeArrowheads="1"/>
            </p:cNvSpPr>
            <p:nvPr/>
          </p:nvSpPr>
          <p:spPr bwMode="auto">
            <a:xfrm>
              <a:off x="953"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 name="Rectangle 7"/>
            <p:cNvSpPr>
              <a:spLocks noChangeArrowheads="1"/>
            </p:cNvSpPr>
            <p:nvPr/>
          </p:nvSpPr>
          <p:spPr bwMode="auto">
            <a:xfrm>
              <a:off x="1084" y="1883"/>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 name="Rectangle 8"/>
            <p:cNvSpPr>
              <a:spLocks noChangeArrowheads="1"/>
            </p:cNvSpPr>
            <p:nvPr/>
          </p:nvSpPr>
          <p:spPr bwMode="auto">
            <a:xfrm>
              <a:off x="821"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 name="Rectangle 9"/>
            <p:cNvSpPr>
              <a:spLocks noChangeArrowheads="1"/>
            </p:cNvSpPr>
            <p:nvPr/>
          </p:nvSpPr>
          <p:spPr bwMode="auto">
            <a:xfrm>
              <a:off x="953"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 name="Rectangle 10"/>
            <p:cNvSpPr>
              <a:spLocks noChangeArrowheads="1"/>
            </p:cNvSpPr>
            <p:nvPr/>
          </p:nvSpPr>
          <p:spPr bwMode="auto">
            <a:xfrm>
              <a:off x="1084" y="2046"/>
              <a:ext cx="118"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 name="Rectangle 11"/>
            <p:cNvSpPr>
              <a:spLocks noChangeArrowheads="1"/>
            </p:cNvSpPr>
            <p:nvPr/>
          </p:nvSpPr>
          <p:spPr bwMode="auto">
            <a:xfrm>
              <a:off x="821"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 name="Rectangle 12"/>
            <p:cNvSpPr>
              <a:spLocks noChangeArrowheads="1"/>
            </p:cNvSpPr>
            <p:nvPr/>
          </p:nvSpPr>
          <p:spPr bwMode="auto">
            <a:xfrm>
              <a:off x="953"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 name="Rectangle 13"/>
            <p:cNvSpPr>
              <a:spLocks noChangeArrowheads="1"/>
            </p:cNvSpPr>
            <p:nvPr/>
          </p:nvSpPr>
          <p:spPr bwMode="auto">
            <a:xfrm>
              <a:off x="1084" y="2210"/>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 name="Freeform 14"/>
            <p:cNvSpPr>
              <a:spLocks/>
            </p:cNvSpPr>
            <p:nvPr/>
          </p:nvSpPr>
          <p:spPr bwMode="auto">
            <a:xfrm>
              <a:off x="821" y="1952"/>
              <a:ext cx="117" cy="79"/>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 name="Freeform 15"/>
            <p:cNvSpPr>
              <a:spLocks/>
            </p:cNvSpPr>
            <p:nvPr/>
          </p:nvSpPr>
          <p:spPr bwMode="auto">
            <a:xfrm>
              <a:off x="821" y="2046"/>
              <a:ext cx="117" cy="6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 name="Freeform 16"/>
            <p:cNvSpPr>
              <a:spLocks/>
            </p:cNvSpPr>
            <p:nvPr/>
          </p:nvSpPr>
          <p:spPr bwMode="auto">
            <a:xfrm>
              <a:off x="953" y="1973"/>
              <a:ext cx="72" cy="58"/>
            </a:xfrm>
            <a:custGeom>
              <a:avLst/>
              <a:gdLst>
                <a:gd name="T0" fmla="*/ 77 w 77"/>
                <a:gd name="T1" fmla="*/ 63 h 63"/>
                <a:gd name="T2" fmla="*/ 0 w 77"/>
                <a:gd name="T3" fmla="*/ 63 h 63"/>
                <a:gd name="T4" fmla="*/ 0 w 77"/>
                <a:gd name="T5" fmla="*/ 4 h 63"/>
                <a:gd name="T6" fmla="*/ 19 w 77"/>
                <a:gd name="T7" fmla="*/ 0 h 63"/>
                <a:gd name="T8" fmla="*/ 33 w 77"/>
                <a:gd name="T9" fmla="*/ 2 h 63"/>
                <a:gd name="T10" fmla="*/ 72 w 77"/>
                <a:gd name="T11" fmla="*/ 53 h 63"/>
                <a:gd name="T12" fmla="*/ 72 w 77"/>
                <a:gd name="T13" fmla="*/ 57 h 63"/>
                <a:gd name="T14" fmla="*/ 77 w 7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63">
                  <a:moveTo>
                    <a:pt x="77" y="63"/>
                  </a:moveTo>
                  <a:cubicBezTo>
                    <a:pt x="0" y="63"/>
                    <a:pt x="0" y="63"/>
                    <a:pt x="0" y="63"/>
                  </a:cubicBezTo>
                  <a:cubicBezTo>
                    <a:pt x="0" y="4"/>
                    <a:pt x="0" y="4"/>
                    <a:pt x="0" y="4"/>
                  </a:cubicBezTo>
                  <a:cubicBezTo>
                    <a:pt x="6" y="1"/>
                    <a:pt x="12" y="0"/>
                    <a:pt x="19" y="0"/>
                  </a:cubicBezTo>
                  <a:cubicBezTo>
                    <a:pt x="24" y="0"/>
                    <a:pt x="29" y="1"/>
                    <a:pt x="33" y="2"/>
                  </a:cubicBezTo>
                  <a:cubicBezTo>
                    <a:pt x="55" y="8"/>
                    <a:pt x="72" y="29"/>
                    <a:pt x="72" y="53"/>
                  </a:cubicBezTo>
                  <a:cubicBezTo>
                    <a:pt x="72" y="54"/>
                    <a:pt x="72" y="55"/>
                    <a:pt x="72" y="57"/>
                  </a:cubicBezTo>
                  <a:cubicBezTo>
                    <a:pt x="74" y="58"/>
                    <a:pt x="75" y="61"/>
                    <a:pt x="77" y="63"/>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 name="Freeform 17"/>
            <p:cNvSpPr>
              <a:spLocks/>
            </p:cNvSpPr>
            <p:nvPr/>
          </p:nvSpPr>
          <p:spPr bwMode="auto">
            <a:xfrm>
              <a:off x="953" y="2046"/>
              <a:ext cx="104" cy="63"/>
            </a:xfrm>
            <a:custGeom>
              <a:avLst/>
              <a:gdLst>
                <a:gd name="T0" fmla="*/ 112 w 112"/>
                <a:gd name="T1" fmla="*/ 26 h 68"/>
                <a:gd name="T2" fmla="*/ 93 w 112"/>
                <a:gd name="T3" fmla="*/ 61 h 68"/>
                <a:gd name="T4" fmla="*/ 70 w 112"/>
                <a:gd name="T5" fmla="*/ 68 h 68"/>
                <a:gd name="T6" fmla="*/ 0 w 112"/>
                <a:gd name="T7" fmla="*/ 68 h 68"/>
                <a:gd name="T8" fmla="*/ 0 w 112"/>
                <a:gd name="T9" fmla="*/ 0 h 68"/>
                <a:gd name="T10" fmla="*/ 103 w 112"/>
                <a:gd name="T11" fmla="*/ 0 h 68"/>
                <a:gd name="T12" fmla="*/ 112 w 112"/>
                <a:gd name="T13" fmla="*/ 26 h 68"/>
              </a:gdLst>
              <a:ahLst/>
              <a:cxnLst>
                <a:cxn ang="0">
                  <a:pos x="T0" y="T1"/>
                </a:cxn>
                <a:cxn ang="0">
                  <a:pos x="T2" y="T3"/>
                </a:cxn>
                <a:cxn ang="0">
                  <a:pos x="T4" y="T5"/>
                </a:cxn>
                <a:cxn ang="0">
                  <a:pos x="T6" y="T7"/>
                </a:cxn>
                <a:cxn ang="0">
                  <a:pos x="T8" y="T9"/>
                </a:cxn>
                <a:cxn ang="0">
                  <a:pos x="T10" y="T11"/>
                </a:cxn>
                <a:cxn ang="0">
                  <a:pos x="T12" y="T13"/>
                </a:cxn>
              </a:cxnLst>
              <a:rect l="0" t="0" r="r" b="b"/>
              <a:pathLst>
                <a:path w="112" h="68">
                  <a:moveTo>
                    <a:pt x="112" y="26"/>
                  </a:moveTo>
                  <a:cubicBezTo>
                    <a:pt x="112" y="41"/>
                    <a:pt x="104" y="54"/>
                    <a:pt x="93" y="61"/>
                  </a:cubicBezTo>
                  <a:cubicBezTo>
                    <a:pt x="86" y="66"/>
                    <a:pt x="78" y="68"/>
                    <a:pt x="70" y="68"/>
                  </a:cubicBezTo>
                  <a:cubicBezTo>
                    <a:pt x="0" y="68"/>
                    <a:pt x="0" y="68"/>
                    <a:pt x="0" y="68"/>
                  </a:cubicBezTo>
                  <a:cubicBezTo>
                    <a:pt x="0" y="0"/>
                    <a:pt x="0" y="0"/>
                    <a:pt x="0" y="0"/>
                  </a:cubicBezTo>
                  <a:cubicBezTo>
                    <a:pt x="103" y="0"/>
                    <a:pt x="103" y="0"/>
                    <a:pt x="103" y="0"/>
                  </a:cubicBezTo>
                  <a:cubicBezTo>
                    <a:pt x="108" y="7"/>
                    <a:pt x="112" y="16"/>
                    <a:pt x="112" y="26"/>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 name="Rectangle 18"/>
            <p:cNvSpPr>
              <a:spLocks noChangeArrowheads="1"/>
            </p:cNvSpPr>
            <p:nvPr/>
          </p:nvSpPr>
          <p:spPr bwMode="auto">
            <a:xfrm>
              <a:off x="303" y="1345"/>
              <a:ext cx="3581" cy="207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 name="Rectangle 19"/>
            <p:cNvSpPr>
              <a:spLocks noChangeArrowheads="1"/>
            </p:cNvSpPr>
            <p:nvPr/>
          </p:nvSpPr>
          <p:spPr bwMode="auto">
            <a:xfrm>
              <a:off x="308" y="2646"/>
              <a:ext cx="3576" cy="777"/>
            </a:xfrm>
            <a:prstGeom prst="rect">
              <a:avLst/>
            </a:prstGeom>
            <a:solidFill>
              <a:srgbClr val="9AB3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0" name="Rectangle 20"/>
            <p:cNvSpPr>
              <a:spLocks noChangeArrowheads="1"/>
            </p:cNvSpPr>
            <p:nvPr/>
          </p:nvSpPr>
          <p:spPr bwMode="auto">
            <a:xfrm>
              <a:off x="821"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1" name="Rectangle 21"/>
            <p:cNvSpPr>
              <a:spLocks noChangeArrowheads="1"/>
            </p:cNvSpPr>
            <p:nvPr/>
          </p:nvSpPr>
          <p:spPr bwMode="auto">
            <a:xfrm>
              <a:off x="953"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2" name="Rectangle 22"/>
            <p:cNvSpPr>
              <a:spLocks noChangeArrowheads="1"/>
            </p:cNvSpPr>
            <p:nvPr/>
          </p:nvSpPr>
          <p:spPr bwMode="auto">
            <a:xfrm>
              <a:off x="1084" y="1883"/>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3" name="Rectangle 23"/>
            <p:cNvSpPr>
              <a:spLocks noChangeArrowheads="1"/>
            </p:cNvSpPr>
            <p:nvPr/>
          </p:nvSpPr>
          <p:spPr bwMode="auto">
            <a:xfrm>
              <a:off x="821"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4" name="Rectangle 24"/>
            <p:cNvSpPr>
              <a:spLocks noChangeArrowheads="1"/>
            </p:cNvSpPr>
            <p:nvPr/>
          </p:nvSpPr>
          <p:spPr bwMode="auto">
            <a:xfrm>
              <a:off x="953"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5" name="Rectangle 25"/>
            <p:cNvSpPr>
              <a:spLocks noChangeArrowheads="1"/>
            </p:cNvSpPr>
            <p:nvPr/>
          </p:nvSpPr>
          <p:spPr bwMode="auto">
            <a:xfrm>
              <a:off x="1084" y="2046"/>
              <a:ext cx="118"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6" name="Rectangle 26"/>
            <p:cNvSpPr>
              <a:spLocks noChangeArrowheads="1"/>
            </p:cNvSpPr>
            <p:nvPr/>
          </p:nvSpPr>
          <p:spPr bwMode="auto">
            <a:xfrm>
              <a:off x="821"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7" name="Rectangle 27"/>
            <p:cNvSpPr>
              <a:spLocks noChangeArrowheads="1"/>
            </p:cNvSpPr>
            <p:nvPr/>
          </p:nvSpPr>
          <p:spPr bwMode="auto">
            <a:xfrm>
              <a:off x="953"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8" name="Rectangle 28"/>
            <p:cNvSpPr>
              <a:spLocks noChangeArrowheads="1"/>
            </p:cNvSpPr>
            <p:nvPr/>
          </p:nvSpPr>
          <p:spPr bwMode="auto">
            <a:xfrm>
              <a:off x="1084" y="2210"/>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9" name="Freeform 29"/>
            <p:cNvSpPr>
              <a:spLocks/>
            </p:cNvSpPr>
            <p:nvPr/>
          </p:nvSpPr>
          <p:spPr bwMode="auto">
            <a:xfrm>
              <a:off x="821" y="1952"/>
              <a:ext cx="117" cy="79"/>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0" name="Freeform 30"/>
            <p:cNvSpPr>
              <a:spLocks/>
            </p:cNvSpPr>
            <p:nvPr/>
          </p:nvSpPr>
          <p:spPr bwMode="auto">
            <a:xfrm>
              <a:off x="821" y="2046"/>
              <a:ext cx="117" cy="6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1" name="Freeform 31"/>
            <p:cNvSpPr>
              <a:spLocks/>
            </p:cNvSpPr>
            <p:nvPr/>
          </p:nvSpPr>
          <p:spPr bwMode="auto">
            <a:xfrm>
              <a:off x="953" y="1973"/>
              <a:ext cx="72" cy="58"/>
            </a:xfrm>
            <a:custGeom>
              <a:avLst/>
              <a:gdLst>
                <a:gd name="T0" fmla="*/ 77 w 77"/>
                <a:gd name="T1" fmla="*/ 63 h 63"/>
                <a:gd name="T2" fmla="*/ 0 w 77"/>
                <a:gd name="T3" fmla="*/ 63 h 63"/>
                <a:gd name="T4" fmla="*/ 0 w 77"/>
                <a:gd name="T5" fmla="*/ 4 h 63"/>
                <a:gd name="T6" fmla="*/ 19 w 77"/>
                <a:gd name="T7" fmla="*/ 0 h 63"/>
                <a:gd name="T8" fmla="*/ 33 w 77"/>
                <a:gd name="T9" fmla="*/ 2 h 63"/>
                <a:gd name="T10" fmla="*/ 72 w 77"/>
                <a:gd name="T11" fmla="*/ 53 h 63"/>
                <a:gd name="T12" fmla="*/ 72 w 77"/>
                <a:gd name="T13" fmla="*/ 57 h 63"/>
                <a:gd name="T14" fmla="*/ 77 w 7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63">
                  <a:moveTo>
                    <a:pt x="77" y="63"/>
                  </a:moveTo>
                  <a:cubicBezTo>
                    <a:pt x="0" y="63"/>
                    <a:pt x="0" y="63"/>
                    <a:pt x="0" y="63"/>
                  </a:cubicBezTo>
                  <a:cubicBezTo>
                    <a:pt x="0" y="4"/>
                    <a:pt x="0" y="4"/>
                    <a:pt x="0" y="4"/>
                  </a:cubicBezTo>
                  <a:cubicBezTo>
                    <a:pt x="6" y="1"/>
                    <a:pt x="12" y="0"/>
                    <a:pt x="19" y="0"/>
                  </a:cubicBezTo>
                  <a:cubicBezTo>
                    <a:pt x="24" y="0"/>
                    <a:pt x="29" y="1"/>
                    <a:pt x="33" y="2"/>
                  </a:cubicBezTo>
                  <a:cubicBezTo>
                    <a:pt x="55" y="8"/>
                    <a:pt x="72" y="29"/>
                    <a:pt x="72" y="53"/>
                  </a:cubicBezTo>
                  <a:cubicBezTo>
                    <a:pt x="72" y="54"/>
                    <a:pt x="72" y="55"/>
                    <a:pt x="72" y="57"/>
                  </a:cubicBezTo>
                  <a:cubicBezTo>
                    <a:pt x="74" y="58"/>
                    <a:pt x="75" y="61"/>
                    <a:pt x="77" y="63"/>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2" name="Freeform 32"/>
            <p:cNvSpPr>
              <a:spLocks/>
            </p:cNvSpPr>
            <p:nvPr/>
          </p:nvSpPr>
          <p:spPr bwMode="auto">
            <a:xfrm>
              <a:off x="953" y="2046"/>
              <a:ext cx="104" cy="63"/>
            </a:xfrm>
            <a:custGeom>
              <a:avLst/>
              <a:gdLst>
                <a:gd name="T0" fmla="*/ 112 w 112"/>
                <a:gd name="T1" fmla="*/ 26 h 68"/>
                <a:gd name="T2" fmla="*/ 93 w 112"/>
                <a:gd name="T3" fmla="*/ 61 h 68"/>
                <a:gd name="T4" fmla="*/ 70 w 112"/>
                <a:gd name="T5" fmla="*/ 68 h 68"/>
                <a:gd name="T6" fmla="*/ 0 w 112"/>
                <a:gd name="T7" fmla="*/ 68 h 68"/>
                <a:gd name="T8" fmla="*/ 0 w 112"/>
                <a:gd name="T9" fmla="*/ 0 h 68"/>
                <a:gd name="T10" fmla="*/ 103 w 112"/>
                <a:gd name="T11" fmla="*/ 0 h 68"/>
                <a:gd name="T12" fmla="*/ 112 w 112"/>
                <a:gd name="T13" fmla="*/ 26 h 68"/>
              </a:gdLst>
              <a:ahLst/>
              <a:cxnLst>
                <a:cxn ang="0">
                  <a:pos x="T0" y="T1"/>
                </a:cxn>
                <a:cxn ang="0">
                  <a:pos x="T2" y="T3"/>
                </a:cxn>
                <a:cxn ang="0">
                  <a:pos x="T4" y="T5"/>
                </a:cxn>
                <a:cxn ang="0">
                  <a:pos x="T6" y="T7"/>
                </a:cxn>
                <a:cxn ang="0">
                  <a:pos x="T8" y="T9"/>
                </a:cxn>
                <a:cxn ang="0">
                  <a:pos x="T10" y="T11"/>
                </a:cxn>
                <a:cxn ang="0">
                  <a:pos x="T12" y="T13"/>
                </a:cxn>
              </a:cxnLst>
              <a:rect l="0" t="0" r="r" b="b"/>
              <a:pathLst>
                <a:path w="112" h="68">
                  <a:moveTo>
                    <a:pt x="112" y="26"/>
                  </a:moveTo>
                  <a:cubicBezTo>
                    <a:pt x="112" y="41"/>
                    <a:pt x="104" y="54"/>
                    <a:pt x="93" y="61"/>
                  </a:cubicBezTo>
                  <a:cubicBezTo>
                    <a:pt x="86" y="66"/>
                    <a:pt x="78" y="68"/>
                    <a:pt x="70" y="68"/>
                  </a:cubicBezTo>
                  <a:cubicBezTo>
                    <a:pt x="0" y="68"/>
                    <a:pt x="0" y="68"/>
                    <a:pt x="0" y="68"/>
                  </a:cubicBezTo>
                  <a:cubicBezTo>
                    <a:pt x="0" y="0"/>
                    <a:pt x="0" y="0"/>
                    <a:pt x="0" y="0"/>
                  </a:cubicBezTo>
                  <a:cubicBezTo>
                    <a:pt x="103" y="0"/>
                    <a:pt x="103" y="0"/>
                    <a:pt x="103" y="0"/>
                  </a:cubicBezTo>
                  <a:cubicBezTo>
                    <a:pt x="108" y="7"/>
                    <a:pt x="112" y="16"/>
                    <a:pt x="112" y="26"/>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3" name="Freeform 33"/>
            <p:cNvSpPr>
              <a:spLocks/>
            </p:cNvSpPr>
            <p:nvPr/>
          </p:nvSpPr>
          <p:spPr bwMode="auto">
            <a:xfrm>
              <a:off x="3125" y="1876"/>
              <a:ext cx="184" cy="182"/>
            </a:xfrm>
            <a:custGeom>
              <a:avLst/>
              <a:gdLst>
                <a:gd name="T0" fmla="*/ 7 w 197"/>
                <a:gd name="T1" fmla="*/ 87 h 197"/>
                <a:gd name="T2" fmla="*/ 87 w 197"/>
                <a:gd name="T3" fmla="*/ 191 h 197"/>
                <a:gd name="T4" fmla="*/ 191 w 197"/>
                <a:gd name="T5" fmla="*/ 110 h 197"/>
                <a:gd name="T6" fmla="*/ 111 w 197"/>
                <a:gd name="T7" fmla="*/ 7 h 197"/>
                <a:gd name="T8" fmla="*/ 7 w 197"/>
                <a:gd name="T9" fmla="*/ 87 h 197"/>
              </a:gdLst>
              <a:ahLst/>
              <a:cxnLst>
                <a:cxn ang="0">
                  <a:pos x="T0" y="T1"/>
                </a:cxn>
                <a:cxn ang="0">
                  <a:pos x="T2" y="T3"/>
                </a:cxn>
                <a:cxn ang="0">
                  <a:pos x="T4" y="T5"/>
                </a:cxn>
                <a:cxn ang="0">
                  <a:pos x="T6" y="T7"/>
                </a:cxn>
                <a:cxn ang="0">
                  <a:pos x="T8" y="T9"/>
                </a:cxn>
              </a:cxnLst>
              <a:rect l="0" t="0" r="r" b="b"/>
              <a:pathLst>
                <a:path w="197" h="197">
                  <a:moveTo>
                    <a:pt x="7" y="87"/>
                  </a:moveTo>
                  <a:cubicBezTo>
                    <a:pt x="0" y="137"/>
                    <a:pt x="36" y="184"/>
                    <a:pt x="87" y="191"/>
                  </a:cubicBezTo>
                  <a:cubicBezTo>
                    <a:pt x="138" y="197"/>
                    <a:pt x="184" y="161"/>
                    <a:pt x="191" y="110"/>
                  </a:cubicBezTo>
                  <a:cubicBezTo>
                    <a:pt x="197" y="60"/>
                    <a:pt x="161" y="13"/>
                    <a:pt x="111" y="7"/>
                  </a:cubicBezTo>
                  <a:cubicBezTo>
                    <a:pt x="60" y="0"/>
                    <a:pt x="14" y="36"/>
                    <a:pt x="7" y="8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4" name="Oval 34"/>
            <p:cNvSpPr>
              <a:spLocks noChangeArrowheads="1"/>
            </p:cNvSpPr>
            <p:nvPr/>
          </p:nvSpPr>
          <p:spPr bwMode="auto">
            <a:xfrm>
              <a:off x="2878" y="1881"/>
              <a:ext cx="173" cy="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5" name="Oval 35"/>
            <p:cNvSpPr>
              <a:spLocks noChangeArrowheads="1"/>
            </p:cNvSpPr>
            <p:nvPr/>
          </p:nvSpPr>
          <p:spPr bwMode="auto">
            <a:xfrm>
              <a:off x="2625" y="1881"/>
              <a:ext cx="173" cy="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6" name="Freeform 36"/>
            <p:cNvSpPr>
              <a:spLocks/>
            </p:cNvSpPr>
            <p:nvPr/>
          </p:nvSpPr>
          <p:spPr bwMode="auto">
            <a:xfrm>
              <a:off x="1689" y="2148"/>
              <a:ext cx="71" cy="92"/>
            </a:xfrm>
            <a:custGeom>
              <a:avLst/>
              <a:gdLst>
                <a:gd name="T0" fmla="*/ 52 w 76"/>
                <a:gd name="T1" fmla="*/ 74 h 99"/>
                <a:gd name="T2" fmla="*/ 73 w 76"/>
                <a:gd name="T3" fmla="*/ 34 h 99"/>
                <a:gd name="T4" fmla="*/ 69 w 76"/>
                <a:gd name="T5" fmla="*/ 22 h 99"/>
                <a:gd name="T6" fmla="*/ 64 w 76"/>
                <a:gd name="T7" fmla="*/ 10 h 99"/>
                <a:gd name="T8" fmla="*/ 60 w 76"/>
                <a:gd name="T9" fmla="*/ 0 h 99"/>
                <a:gd name="T10" fmla="*/ 55 w 76"/>
                <a:gd name="T11" fmla="*/ 9 h 99"/>
                <a:gd name="T12" fmla="*/ 46 w 76"/>
                <a:gd name="T13" fmla="*/ 14 h 99"/>
                <a:gd name="T14" fmla="*/ 41 w 76"/>
                <a:gd name="T15" fmla="*/ 25 h 99"/>
                <a:gd name="T16" fmla="*/ 32 w 76"/>
                <a:gd name="T17" fmla="*/ 16 h 99"/>
                <a:gd name="T18" fmla="*/ 28 w 76"/>
                <a:gd name="T19" fmla="*/ 47 h 99"/>
                <a:gd name="T20" fmla="*/ 28 w 76"/>
                <a:gd name="T21" fmla="*/ 53 h 99"/>
                <a:gd name="T22" fmla="*/ 0 w 76"/>
                <a:gd name="T23" fmla="*/ 91 h 99"/>
                <a:gd name="T24" fmla="*/ 34 w 76"/>
                <a:gd name="T25" fmla="*/ 99 h 99"/>
                <a:gd name="T26" fmla="*/ 52 w 76"/>
                <a:gd name="T27" fmla="*/ 7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99">
                  <a:moveTo>
                    <a:pt x="52" y="74"/>
                  </a:moveTo>
                  <a:cubicBezTo>
                    <a:pt x="67" y="59"/>
                    <a:pt x="69" y="51"/>
                    <a:pt x="73" y="34"/>
                  </a:cubicBezTo>
                  <a:cubicBezTo>
                    <a:pt x="76" y="23"/>
                    <a:pt x="73" y="19"/>
                    <a:pt x="69" y="22"/>
                  </a:cubicBezTo>
                  <a:cubicBezTo>
                    <a:pt x="74" y="13"/>
                    <a:pt x="68" y="3"/>
                    <a:pt x="64" y="10"/>
                  </a:cubicBezTo>
                  <a:cubicBezTo>
                    <a:pt x="65" y="7"/>
                    <a:pt x="64" y="1"/>
                    <a:pt x="60" y="0"/>
                  </a:cubicBezTo>
                  <a:cubicBezTo>
                    <a:pt x="56" y="0"/>
                    <a:pt x="55" y="6"/>
                    <a:pt x="55" y="9"/>
                  </a:cubicBezTo>
                  <a:cubicBezTo>
                    <a:pt x="52" y="6"/>
                    <a:pt x="47" y="6"/>
                    <a:pt x="46" y="14"/>
                  </a:cubicBezTo>
                  <a:cubicBezTo>
                    <a:pt x="45" y="21"/>
                    <a:pt x="41" y="25"/>
                    <a:pt x="41" y="25"/>
                  </a:cubicBezTo>
                  <a:cubicBezTo>
                    <a:pt x="40" y="17"/>
                    <a:pt x="36" y="14"/>
                    <a:pt x="32" y="16"/>
                  </a:cubicBezTo>
                  <a:cubicBezTo>
                    <a:pt x="32" y="24"/>
                    <a:pt x="28" y="36"/>
                    <a:pt x="28" y="47"/>
                  </a:cubicBezTo>
                  <a:cubicBezTo>
                    <a:pt x="28" y="49"/>
                    <a:pt x="28" y="51"/>
                    <a:pt x="28" y="53"/>
                  </a:cubicBezTo>
                  <a:cubicBezTo>
                    <a:pt x="0" y="91"/>
                    <a:pt x="0" y="91"/>
                    <a:pt x="0" y="91"/>
                  </a:cubicBezTo>
                  <a:cubicBezTo>
                    <a:pt x="34" y="99"/>
                    <a:pt x="34" y="99"/>
                    <a:pt x="34" y="99"/>
                  </a:cubicBezTo>
                  <a:lnTo>
                    <a:pt x="52"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7" name="Freeform 37"/>
            <p:cNvSpPr>
              <a:spLocks/>
            </p:cNvSpPr>
            <p:nvPr/>
          </p:nvSpPr>
          <p:spPr bwMode="auto">
            <a:xfrm>
              <a:off x="1698" y="2201"/>
              <a:ext cx="36" cy="32"/>
            </a:xfrm>
            <a:custGeom>
              <a:avLst/>
              <a:gdLst>
                <a:gd name="T0" fmla="*/ 36 w 36"/>
                <a:gd name="T1" fmla="*/ 23 h 32"/>
                <a:gd name="T2" fmla="*/ 7 w 36"/>
                <a:gd name="T3" fmla="*/ 0 h 32"/>
                <a:gd name="T4" fmla="*/ 0 w 36"/>
                <a:gd name="T5" fmla="*/ 9 h 32"/>
                <a:gd name="T6" fmla="*/ 29 w 36"/>
                <a:gd name="T7" fmla="*/ 32 h 32"/>
                <a:gd name="T8" fmla="*/ 36 w 36"/>
                <a:gd name="T9" fmla="*/ 23 h 32"/>
              </a:gdLst>
              <a:ahLst/>
              <a:cxnLst>
                <a:cxn ang="0">
                  <a:pos x="T0" y="T1"/>
                </a:cxn>
                <a:cxn ang="0">
                  <a:pos x="T2" y="T3"/>
                </a:cxn>
                <a:cxn ang="0">
                  <a:pos x="T4" y="T5"/>
                </a:cxn>
                <a:cxn ang="0">
                  <a:pos x="T6" y="T7"/>
                </a:cxn>
                <a:cxn ang="0">
                  <a:pos x="T8" y="T9"/>
                </a:cxn>
              </a:cxnLst>
              <a:rect l="0" t="0" r="r" b="b"/>
              <a:pathLst>
                <a:path w="36" h="32">
                  <a:moveTo>
                    <a:pt x="36" y="23"/>
                  </a:moveTo>
                  <a:lnTo>
                    <a:pt x="7" y="0"/>
                  </a:lnTo>
                  <a:lnTo>
                    <a:pt x="0" y="9"/>
                  </a:lnTo>
                  <a:lnTo>
                    <a:pt x="29" y="32"/>
                  </a:lnTo>
                  <a:lnTo>
                    <a:pt x="36" y="2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8" name="Freeform 38"/>
            <p:cNvSpPr>
              <a:spLocks/>
            </p:cNvSpPr>
            <p:nvPr/>
          </p:nvSpPr>
          <p:spPr bwMode="auto">
            <a:xfrm>
              <a:off x="1633" y="2263"/>
              <a:ext cx="52" cy="51"/>
            </a:xfrm>
            <a:custGeom>
              <a:avLst/>
              <a:gdLst>
                <a:gd name="T0" fmla="*/ 9 w 56"/>
                <a:gd name="T1" fmla="*/ 12 h 55"/>
                <a:gd name="T2" fmla="*/ 43 w 56"/>
                <a:gd name="T3" fmla="*/ 8 h 55"/>
                <a:gd name="T4" fmla="*/ 48 w 56"/>
                <a:gd name="T5" fmla="*/ 43 h 55"/>
                <a:gd name="T6" fmla="*/ 13 w 56"/>
                <a:gd name="T7" fmla="*/ 47 h 55"/>
                <a:gd name="T8" fmla="*/ 9 w 56"/>
                <a:gd name="T9" fmla="*/ 12 h 55"/>
              </a:gdLst>
              <a:ahLst/>
              <a:cxnLst>
                <a:cxn ang="0">
                  <a:pos x="T0" y="T1"/>
                </a:cxn>
                <a:cxn ang="0">
                  <a:pos x="T2" y="T3"/>
                </a:cxn>
                <a:cxn ang="0">
                  <a:pos x="T4" y="T5"/>
                </a:cxn>
                <a:cxn ang="0">
                  <a:pos x="T6" y="T7"/>
                </a:cxn>
                <a:cxn ang="0">
                  <a:pos x="T8" y="T9"/>
                </a:cxn>
              </a:cxnLst>
              <a:rect l="0" t="0" r="r" b="b"/>
              <a:pathLst>
                <a:path w="56" h="55">
                  <a:moveTo>
                    <a:pt x="9" y="12"/>
                  </a:moveTo>
                  <a:cubicBezTo>
                    <a:pt x="17" y="2"/>
                    <a:pt x="33" y="0"/>
                    <a:pt x="43" y="8"/>
                  </a:cubicBezTo>
                  <a:cubicBezTo>
                    <a:pt x="54" y="17"/>
                    <a:pt x="56" y="32"/>
                    <a:pt x="48" y="43"/>
                  </a:cubicBezTo>
                  <a:cubicBezTo>
                    <a:pt x="39" y="54"/>
                    <a:pt x="24" y="55"/>
                    <a:pt x="13" y="47"/>
                  </a:cubicBezTo>
                  <a:cubicBezTo>
                    <a:pt x="2" y="39"/>
                    <a:pt x="0" y="23"/>
                    <a:pt x="9" y="1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9" name="Freeform 39"/>
            <p:cNvSpPr>
              <a:spLocks/>
            </p:cNvSpPr>
            <p:nvPr/>
          </p:nvSpPr>
          <p:spPr bwMode="auto">
            <a:xfrm>
              <a:off x="1641" y="2210"/>
              <a:ext cx="87" cy="93"/>
            </a:xfrm>
            <a:custGeom>
              <a:avLst/>
              <a:gdLst>
                <a:gd name="T0" fmla="*/ 87 w 87"/>
                <a:gd name="T1" fmla="*/ 23 h 93"/>
                <a:gd name="T2" fmla="*/ 56 w 87"/>
                <a:gd name="T3" fmla="*/ 0 h 93"/>
                <a:gd name="T4" fmla="*/ 0 w 87"/>
                <a:gd name="T5" fmla="*/ 65 h 93"/>
                <a:gd name="T6" fmla="*/ 37 w 87"/>
                <a:gd name="T7" fmla="*/ 93 h 93"/>
                <a:gd name="T8" fmla="*/ 87 w 87"/>
                <a:gd name="T9" fmla="*/ 23 h 93"/>
              </a:gdLst>
              <a:ahLst/>
              <a:cxnLst>
                <a:cxn ang="0">
                  <a:pos x="T0" y="T1"/>
                </a:cxn>
                <a:cxn ang="0">
                  <a:pos x="T2" y="T3"/>
                </a:cxn>
                <a:cxn ang="0">
                  <a:pos x="T4" y="T5"/>
                </a:cxn>
                <a:cxn ang="0">
                  <a:pos x="T6" y="T7"/>
                </a:cxn>
                <a:cxn ang="0">
                  <a:pos x="T8" y="T9"/>
                </a:cxn>
              </a:cxnLst>
              <a:rect l="0" t="0" r="r" b="b"/>
              <a:pathLst>
                <a:path w="87" h="93">
                  <a:moveTo>
                    <a:pt x="87" y="23"/>
                  </a:moveTo>
                  <a:lnTo>
                    <a:pt x="56" y="0"/>
                  </a:lnTo>
                  <a:lnTo>
                    <a:pt x="0" y="65"/>
                  </a:lnTo>
                  <a:lnTo>
                    <a:pt x="37" y="93"/>
                  </a:lnTo>
                  <a:lnTo>
                    <a:pt x="87" y="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0" name="Freeform 40"/>
            <p:cNvSpPr>
              <a:spLocks/>
            </p:cNvSpPr>
            <p:nvPr/>
          </p:nvSpPr>
          <p:spPr bwMode="auto">
            <a:xfrm>
              <a:off x="1610" y="2025"/>
              <a:ext cx="328" cy="204"/>
            </a:xfrm>
            <a:custGeom>
              <a:avLst/>
              <a:gdLst>
                <a:gd name="T0" fmla="*/ 346 w 351"/>
                <a:gd name="T1" fmla="*/ 143 h 220"/>
                <a:gd name="T2" fmla="*/ 340 w 351"/>
                <a:gd name="T3" fmla="*/ 133 h 220"/>
                <a:gd name="T4" fmla="*/ 341 w 351"/>
                <a:gd name="T5" fmla="*/ 128 h 220"/>
                <a:gd name="T6" fmla="*/ 301 w 351"/>
                <a:gd name="T7" fmla="*/ 57 h 220"/>
                <a:gd name="T8" fmla="*/ 284 w 351"/>
                <a:gd name="T9" fmla="*/ 52 h 220"/>
                <a:gd name="T10" fmla="*/ 242 w 351"/>
                <a:gd name="T11" fmla="*/ 59 h 220"/>
                <a:gd name="T12" fmla="*/ 219 w 351"/>
                <a:gd name="T13" fmla="*/ 26 h 220"/>
                <a:gd name="T14" fmla="*/ 203 w 351"/>
                <a:gd name="T15" fmla="*/ 15 h 220"/>
                <a:gd name="T16" fmla="*/ 176 w 351"/>
                <a:gd name="T17" fmla="*/ 6 h 220"/>
                <a:gd name="T18" fmla="*/ 80 w 351"/>
                <a:gd name="T19" fmla="*/ 74 h 220"/>
                <a:gd name="T20" fmla="*/ 80 w 351"/>
                <a:gd name="T21" fmla="*/ 76 h 220"/>
                <a:gd name="T22" fmla="*/ 79 w 351"/>
                <a:gd name="T23" fmla="*/ 76 h 220"/>
                <a:gd name="T24" fmla="*/ 2 w 351"/>
                <a:gd name="T25" fmla="*/ 133 h 220"/>
                <a:gd name="T26" fmla="*/ 10 w 351"/>
                <a:gd name="T27" fmla="*/ 175 h 220"/>
                <a:gd name="T28" fmla="*/ 27 w 351"/>
                <a:gd name="T29" fmla="*/ 180 h 220"/>
                <a:gd name="T30" fmla="*/ 288 w 351"/>
                <a:gd name="T31" fmla="*/ 219 h 220"/>
                <a:gd name="T32" fmla="*/ 319 w 351"/>
                <a:gd name="T33" fmla="*/ 214 h 220"/>
                <a:gd name="T34" fmla="*/ 350 w 351"/>
                <a:gd name="T35" fmla="*/ 173 h 220"/>
                <a:gd name="T36" fmla="*/ 346 w 351"/>
                <a:gd name="T37" fmla="*/ 14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1" h="220">
                  <a:moveTo>
                    <a:pt x="346" y="143"/>
                  </a:moveTo>
                  <a:cubicBezTo>
                    <a:pt x="344" y="140"/>
                    <a:pt x="342" y="136"/>
                    <a:pt x="340" y="133"/>
                  </a:cubicBezTo>
                  <a:cubicBezTo>
                    <a:pt x="340" y="131"/>
                    <a:pt x="340" y="130"/>
                    <a:pt x="341" y="128"/>
                  </a:cubicBezTo>
                  <a:cubicBezTo>
                    <a:pt x="345" y="98"/>
                    <a:pt x="328" y="69"/>
                    <a:pt x="301" y="57"/>
                  </a:cubicBezTo>
                  <a:cubicBezTo>
                    <a:pt x="296" y="54"/>
                    <a:pt x="290" y="53"/>
                    <a:pt x="284" y="52"/>
                  </a:cubicBezTo>
                  <a:cubicBezTo>
                    <a:pt x="269" y="49"/>
                    <a:pt x="254" y="52"/>
                    <a:pt x="242" y="59"/>
                  </a:cubicBezTo>
                  <a:cubicBezTo>
                    <a:pt x="237" y="46"/>
                    <a:pt x="229" y="35"/>
                    <a:pt x="219" y="26"/>
                  </a:cubicBezTo>
                  <a:cubicBezTo>
                    <a:pt x="214" y="22"/>
                    <a:pt x="209" y="18"/>
                    <a:pt x="203" y="15"/>
                  </a:cubicBezTo>
                  <a:cubicBezTo>
                    <a:pt x="195" y="11"/>
                    <a:pt x="185" y="8"/>
                    <a:pt x="176" y="6"/>
                  </a:cubicBezTo>
                  <a:cubicBezTo>
                    <a:pt x="131" y="0"/>
                    <a:pt x="88" y="30"/>
                    <a:pt x="80" y="74"/>
                  </a:cubicBezTo>
                  <a:cubicBezTo>
                    <a:pt x="80" y="75"/>
                    <a:pt x="80" y="75"/>
                    <a:pt x="80" y="76"/>
                  </a:cubicBezTo>
                  <a:cubicBezTo>
                    <a:pt x="80" y="76"/>
                    <a:pt x="79" y="76"/>
                    <a:pt x="79" y="76"/>
                  </a:cubicBezTo>
                  <a:cubicBezTo>
                    <a:pt x="42" y="70"/>
                    <a:pt x="8" y="96"/>
                    <a:pt x="2" y="133"/>
                  </a:cubicBezTo>
                  <a:cubicBezTo>
                    <a:pt x="0" y="148"/>
                    <a:pt x="3" y="162"/>
                    <a:pt x="10" y="175"/>
                  </a:cubicBezTo>
                  <a:cubicBezTo>
                    <a:pt x="15" y="177"/>
                    <a:pt x="21" y="179"/>
                    <a:pt x="27" y="180"/>
                  </a:cubicBezTo>
                  <a:cubicBezTo>
                    <a:pt x="288" y="219"/>
                    <a:pt x="288" y="219"/>
                    <a:pt x="288" y="219"/>
                  </a:cubicBezTo>
                  <a:cubicBezTo>
                    <a:pt x="299" y="220"/>
                    <a:pt x="310" y="219"/>
                    <a:pt x="319" y="214"/>
                  </a:cubicBezTo>
                  <a:cubicBezTo>
                    <a:pt x="335" y="207"/>
                    <a:pt x="347" y="192"/>
                    <a:pt x="350" y="173"/>
                  </a:cubicBezTo>
                  <a:cubicBezTo>
                    <a:pt x="351" y="163"/>
                    <a:pt x="350" y="152"/>
                    <a:pt x="346" y="14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1" name="Freeform 41"/>
            <p:cNvSpPr>
              <a:spLocks/>
            </p:cNvSpPr>
            <p:nvPr/>
          </p:nvSpPr>
          <p:spPr bwMode="auto">
            <a:xfrm>
              <a:off x="1951" y="1647"/>
              <a:ext cx="395" cy="431"/>
            </a:xfrm>
            <a:custGeom>
              <a:avLst/>
              <a:gdLst>
                <a:gd name="T0" fmla="*/ 0 w 424"/>
                <a:gd name="T1" fmla="*/ 464 h 464"/>
                <a:gd name="T2" fmla="*/ 0 w 424"/>
                <a:gd name="T3" fmla="*/ 212 h 464"/>
                <a:gd name="T4" fmla="*/ 212 w 424"/>
                <a:gd name="T5" fmla="*/ 0 h 464"/>
                <a:gd name="T6" fmla="*/ 424 w 424"/>
                <a:gd name="T7" fmla="*/ 212 h 464"/>
                <a:gd name="T8" fmla="*/ 424 w 424"/>
                <a:gd name="T9" fmla="*/ 464 h 464"/>
                <a:gd name="T10" fmla="*/ 0 w 424"/>
                <a:gd name="T11" fmla="*/ 464 h 464"/>
              </a:gdLst>
              <a:ahLst/>
              <a:cxnLst>
                <a:cxn ang="0">
                  <a:pos x="T0" y="T1"/>
                </a:cxn>
                <a:cxn ang="0">
                  <a:pos x="T2" y="T3"/>
                </a:cxn>
                <a:cxn ang="0">
                  <a:pos x="T4" y="T5"/>
                </a:cxn>
                <a:cxn ang="0">
                  <a:pos x="T6" y="T7"/>
                </a:cxn>
                <a:cxn ang="0">
                  <a:pos x="T8" y="T9"/>
                </a:cxn>
                <a:cxn ang="0">
                  <a:pos x="T10" y="T11"/>
                </a:cxn>
              </a:cxnLst>
              <a:rect l="0" t="0" r="r" b="b"/>
              <a:pathLst>
                <a:path w="424" h="464">
                  <a:moveTo>
                    <a:pt x="0" y="464"/>
                  </a:moveTo>
                  <a:cubicBezTo>
                    <a:pt x="0" y="212"/>
                    <a:pt x="0" y="212"/>
                    <a:pt x="0" y="212"/>
                  </a:cubicBezTo>
                  <a:cubicBezTo>
                    <a:pt x="0" y="95"/>
                    <a:pt x="95" y="0"/>
                    <a:pt x="212" y="0"/>
                  </a:cubicBezTo>
                  <a:cubicBezTo>
                    <a:pt x="329" y="0"/>
                    <a:pt x="424" y="95"/>
                    <a:pt x="424" y="212"/>
                  </a:cubicBezTo>
                  <a:cubicBezTo>
                    <a:pt x="424" y="464"/>
                    <a:pt x="424" y="464"/>
                    <a:pt x="424" y="464"/>
                  </a:cubicBezTo>
                  <a:lnTo>
                    <a:pt x="0" y="4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2" name="Freeform 42"/>
            <p:cNvSpPr>
              <a:spLocks noEditPoints="1"/>
            </p:cNvSpPr>
            <p:nvPr/>
          </p:nvSpPr>
          <p:spPr bwMode="auto">
            <a:xfrm>
              <a:off x="1944" y="1641"/>
              <a:ext cx="409" cy="443"/>
            </a:xfrm>
            <a:custGeom>
              <a:avLst/>
              <a:gdLst>
                <a:gd name="T0" fmla="*/ 219 w 438"/>
                <a:gd name="T1" fmla="*/ 14 h 478"/>
                <a:gd name="T2" fmla="*/ 424 w 438"/>
                <a:gd name="T3" fmla="*/ 219 h 478"/>
                <a:gd name="T4" fmla="*/ 424 w 438"/>
                <a:gd name="T5" fmla="*/ 465 h 478"/>
                <a:gd name="T6" fmla="*/ 13 w 438"/>
                <a:gd name="T7" fmla="*/ 465 h 478"/>
                <a:gd name="T8" fmla="*/ 13 w 438"/>
                <a:gd name="T9" fmla="*/ 219 h 478"/>
                <a:gd name="T10" fmla="*/ 219 w 438"/>
                <a:gd name="T11" fmla="*/ 14 h 478"/>
                <a:gd name="T12" fmla="*/ 219 w 438"/>
                <a:gd name="T13" fmla="*/ 0 h 478"/>
                <a:gd name="T14" fmla="*/ 0 w 438"/>
                <a:gd name="T15" fmla="*/ 219 h 478"/>
                <a:gd name="T16" fmla="*/ 0 w 438"/>
                <a:gd name="T17" fmla="*/ 478 h 478"/>
                <a:gd name="T18" fmla="*/ 438 w 438"/>
                <a:gd name="T19" fmla="*/ 478 h 478"/>
                <a:gd name="T20" fmla="*/ 438 w 438"/>
                <a:gd name="T21" fmla="*/ 219 h 478"/>
                <a:gd name="T22" fmla="*/ 219 w 438"/>
                <a:gd name="T23"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478">
                  <a:moveTo>
                    <a:pt x="219" y="14"/>
                  </a:moveTo>
                  <a:cubicBezTo>
                    <a:pt x="332" y="14"/>
                    <a:pt x="424" y="106"/>
                    <a:pt x="424" y="219"/>
                  </a:cubicBezTo>
                  <a:cubicBezTo>
                    <a:pt x="424" y="465"/>
                    <a:pt x="424" y="465"/>
                    <a:pt x="424" y="465"/>
                  </a:cubicBezTo>
                  <a:cubicBezTo>
                    <a:pt x="13" y="465"/>
                    <a:pt x="13" y="465"/>
                    <a:pt x="13" y="465"/>
                  </a:cubicBezTo>
                  <a:cubicBezTo>
                    <a:pt x="13" y="219"/>
                    <a:pt x="13" y="219"/>
                    <a:pt x="13" y="219"/>
                  </a:cubicBezTo>
                  <a:cubicBezTo>
                    <a:pt x="13" y="106"/>
                    <a:pt x="105" y="14"/>
                    <a:pt x="219" y="14"/>
                  </a:cubicBezTo>
                  <a:moveTo>
                    <a:pt x="219" y="0"/>
                  </a:moveTo>
                  <a:cubicBezTo>
                    <a:pt x="98" y="0"/>
                    <a:pt x="0" y="98"/>
                    <a:pt x="0" y="219"/>
                  </a:cubicBezTo>
                  <a:cubicBezTo>
                    <a:pt x="0" y="478"/>
                    <a:pt x="0" y="478"/>
                    <a:pt x="0" y="478"/>
                  </a:cubicBezTo>
                  <a:cubicBezTo>
                    <a:pt x="438" y="478"/>
                    <a:pt x="438" y="478"/>
                    <a:pt x="438" y="478"/>
                  </a:cubicBezTo>
                  <a:cubicBezTo>
                    <a:pt x="438" y="219"/>
                    <a:pt x="438" y="219"/>
                    <a:pt x="438" y="219"/>
                  </a:cubicBezTo>
                  <a:cubicBezTo>
                    <a:pt x="438" y="98"/>
                    <a:pt x="340" y="0"/>
                    <a:pt x="219"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3" name="Oval 43"/>
            <p:cNvSpPr>
              <a:spLocks noChangeArrowheads="1"/>
            </p:cNvSpPr>
            <p:nvPr/>
          </p:nvSpPr>
          <p:spPr bwMode="auto">
            <a:xfrm>
              <a:off x="1983" y="1672"/>
              <a:ext cx="330" cy="328"/>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4" name="Oval 44"/>
            <p:cNvSpPr>
              <a:spLocks noChangeArrowheads="1"/>
            </p:cNvSpPr>
            <p:nvPr/>
          </p:nvSpPr>
          <p:spPr bwMode="auto">
            <a:xfrm>
              <a:off x="2012" y="1700"/>
              <a:ext cx="273" cy="271"/>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5" name="Freeform 45"/>
            <p:cNvSpPr>
              <a:spLocks/>
            </p:cNvSpPr>
            <p:nvPr/>
          </p:nvSpPr>
          <p:spPr bwMode="auto">
            <a:xfrm>
              <a:off x="2423" y="2663"/>
              <a:ext cx="415" cy="5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4"/>
                    <a:pt x="445" y="28"/>
                  </a:cubicBezTo>
                  <a:cubicBezTo>
                    <a:pt x="445" y="13"/>
                    <a:pt x="432" y="0"/>
                    <a:pt x="417" y="0"/>
                  </a:cubicBezTo>
                  <a:cubicBezTo>
                    <a:pt x="28" y="0"/>
                    <a:pt x="28" y="0"/>
                    <a:pt x="28" y="0"/>
                  </a:cubicBezTo>
                  <a:cubicBezTo>
                    <a:pt x="12" y="0"/>
                    <a:pt x="0" y="13"/>
                    <a:pt x="0" y="28"/>
                  </a:cubicBezTo>
                  <a:cubicBezTo>
                    <a:pt x="0" y="44"/>
                    <a:pt x="12" y="56"/>
                    <a:pt x="28"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6" name="Freeform 46"/>
            <p:cNvSpPr>
              <a:spLocks/>
            </p:cNvSpPr>
            <p:nvPr/>
          </p:nvSpPr>
          <p:spPr bwMode="auto">
            <a:xfrm>
              <a:off x="2431" y="2673"/>
              <a:ext cx="415" cy="5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7" name="Freeform 47"/>
            <p:cNvSpPr>
              <a:spLocks/>
            </p:cNvSpPr>
            <p:nvPr/>
          </p:nvSpPr>
          <p:spPr bwMode="auto">
            <a:xfrm>
              <a:off x="2756" y="2917"/>
              <a:ext cx="30" cy="12"/>
            </a:xfrm>
            <a:custGeom>
              <a:avLst/>
              <a:gdLst>
                <a:gd name="T0" fmla="*/ 0 w 33"/>
                <a:gd name="T1" fmla="*/ 13 h 13"/>
                <a:gd name="T2" fmla="*/ 17 w 33"/>
                <a:gd name="T3" fmla="*/ 0 h 13"/>
                <a:gd name="T4" fmla="*/ 33 w 33"/>
                <a:gd name="T5" fmla="*/ 13 h 13"/>
                <a:gd name="T6" fmla="*/ 0 w 33"/>
                <a:gd name="T7" fmla="*/ 13 h 13"/>
              </a:gdLst>
              <a:ahLst/>
              <a:cxnLst>
                <a:cxn ang="0">
                  <a:pos x="T0" y="T1"/>
                </a:cxn>
                <a:cxn ang="0">
                  <a:pos x="T2" y="T3"/>
                </a:cxn>
                <a:cxn ang="0">
                  <a:pos x="T4" y="T5"/>
                </a:cxn>
                <a:cxn ang="0">
                  <a:pos x="T6" y="T7"/>
                </a:cxn>
              </a:cxnLst>
              <a:rect l="0" t="0" r="r" b="b"/>
              <a:pathLst>
                <a:path w="33" h="13">
                  <a:moveTo>
                    <a:pt x="0" y="13"/>
                  </a:moveTo>
                  <a:cubicBezTo>
                    <a:pt x="2" y="6"/>
                    <a:pt x="9" y="0"/>
                    <a:pt x="17" y="0"/>
                  </a:cubicBezTo>
                  <a:cubicBezTo>
                    <a:pt x="24" y="0"/>
                    <a:pt x="31" y="6"/>
                    <a:pt x="33" y="13"/>
                  </a:cubicBezTo>
                  <a:lnTo>
                    <a:pt x="0" y="13"/>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8" name="Rectangle 48"/>
            <p:cNvSpPr>
              <a:spLocks noChangeArrowheads="1"/>
            </p:cNvSpPr>
            <p:nvPr/>
          </p:nvSpPr>
          <p:spPr bwMode="auto">
            <a:xfrm>
              <a:off x="1944" y="2084"/>
              <a:ext cx="408" cy="21"/>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9" name="Freeform 49"/>
            <p:cNvSpPr>
              <a:spLocks/>
            </p:cNvSpPr>
            <p:nvPr/>
          </p:nvSpPr>
          <p:spPr bwMode="auto">
            <a:xfrm>
              <a:off x="2290" y="1905"/>
              <a:ext cx="240" cy="405"/>
            </a:xfrm>
            <a:custGeom>
              <a:avLst/>
              <a:gdLst>
                <a:gd name="T0" fmla="*/ 236 w 257"/>
                <a:gd name="T1" fmla="*/ 52 h 436"/>
                <a:gd name="T2" fmla="*/ 184 w 257"/>
                <a:gd name="T3" fmla="*/ 33 h 436"/>
                <a:gd name="T4" fmla="*/ 91 w 257"/>
                <a:gd name="T5" fmla="*/ 33 h 436"/>
                <a:gd name="T6" fmla="*/ 48 w 257"/>
                <a:gd name="T7" fmla="*/ 0 h 436"/>
                <a:gd name="T8" fmla="*/ 48 w 257"/>
                <a:gd name="T9" fmla="*/ 90 h 436"/>
                <a:gd name="T10" fmla="*/ 91 w 257"/>
                <a:gd name="T11" fmla="*/ 57 h 436"/>
                <a:gd name="T12" fmla="*/ 184 w 257"/>
                <a:gd name="T13" fmla="*/ 57 h 436"/>
                <a:gd name="T14" fmla="*/ 185 w 257"/>
                <a:gd name="T15" fmla="*/ 57 h 436"/>
                <a:gd name="T16" fmla="*/ 220 w 257"/>
                <a:gd name="T17" fmla="*/ 70 h 436"/>
                <a:gd name="T18" fmla="*/ 232 w 257"/>
                <a:gd name="T19" fmla="*/ 105 h 436"/>
                <a:gd name="T20" fmla="*/ 232 w 257"/>
                <a:gd name="T21" fmla="*/ 278 h 436"/>
                <a:gd name="T22" fmla="*/ 220 w 257"/>
                <a:gd name="T23" fmla="*/ 313 h 436"/>
                <a:gd name="T24" fmla="*/ 185 w 257"/>
                <a:gd name="T25" fmla="*/ 326 h 436"/>
                <a:gd name="T26" fmla="*/ 184 w 257"/>
                <a:gd name="T27" fmla="*/ 326 h 436"/>
                <a:gd name="T28" fmla="*/ 105 w 257"/>
                <a:gd name="T29" fmla="*/ 326 h 436"/>
                <a:gd name="T30" fmla="*/ 51 w 257"/>
                <a:gd name="T31" fmla="*/ 346 h 436"/>
                <a:gd name="T32" fmla="*/ 33 w 257"/>
                <a:gd name="T33" fmla="*/ 393 h 436"/>
                <a:gd name="T34" fmla="*/ 0 w 257"/>
                <a:gd name="T35" fmla="*/ 436 h 436"/>
                <a:gd name="T36" fmla="*/ 0 w 257"/>
                <a:gd name="T37" fmla="*/ 436 h 436"/>
                <a:gd name="T38" fmla="*/ 90 w 257"/>
                <a:gd name="T39" fmla="*/ 436 h 436"/>
                <a:gd name="T40" fmla="*/ 90 w 257"/>
                <a:gd name="T41" fmla="*/ 436 h 436"/>
                <a:gd name="T42" fmla="*/ 57 w 257"/>
                <a:gd name="T43" fmla="*/ 393 h 436"/>
                <a:gd name="T44" fmla="*/ 69 w 257"/>
                <a:gd name="T45" fmla="*/ 363 h 436"/>
                <a:gd name="T46" fmla="*/ 105 w 257"/>
                <a:gd name="T47" fmla="*/ 350 h 436"/>
                <a:gd name="T48" fmla="*/ 184 w 257"/>
                <a:gd name="T49" fmla="*/ 350 h 436"/>
                <a:gd name="T50" fmla="*/ 236 w 257"/>
                <a:gd name="T51" fmla="*/ 331 h 436"/>
                <a:gd name="T52" fmla="*/ 257 w 257"/>
                <a:gd name="T53" fmla="*/ 278 h 436"/>
                <a:gd name="T54" fmla="*/ 257 w 257"/>
                <a:gd name="T55" fmla="*/ 105 h 436"/>
                <a:gd name="T56" fmla="*/ 236 w 257"/>
                <a:gd name="T57" fmla="*/ 52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 h="436">
                  <a:moveTo>
                    <a:pt x="236" y="52"/>
                  </a:moveTo>
                  <a:cubicBezTo>
                    <a:pt x="216" y="33"/>
                    <a:pt x="188" y="33"/>
                    <a:pt x="184" y="33"/>
                  </a:cubicBezTo>
                  <a:cubicBezTo>
                    <a:pt x="91" y="33"/>
                    <a:pt x="91" y="33"/>
                    <a:pt x="91" y="33"/>
                  </a:cubicBezTo>
                  <a:cubicBezTo>
                    <a:pt x="86" y="14"/>
                    <a:pt x="69" y="0"/>
                    <a:pt x="48" y="0"/>
                  </a:cubicBezTo>
                  <a:cubicBezTo>
                    <a:pt x="48" y="90"/>
                    <a:pt x="48" y="90"/>
                    <a:pt x="48" y="90"/>
                  </a:cubicBezTo>
                  <a:cubicBezTo>
                    <a:pt x="69" y="90"/>
                    <a:pt x="86" y="76"/>
                    <a:pt x="91" y="57"/>
                  </a:cubicBezTo>
                  <a:cubicBezTo>
                    <a:pt x="184" y="57"/>
                    <a:pt x="184" y="57"/>
                    <a:pt x="184" y="57"/>
                  </a:cubicBezTo>
                  <a:cubicBezTo>
                    <a:pt x="185" y="57"/>
                    <a:pt x="185" y="57"/>
                    <a:pt x="185" y="57"/>
                  </a:cubicBezTo>
                  <a:cubicBezTo>
                    <a:pt x="185" y="57"/>
                    <a:pt x="206" y="57"/>
                    <a:pt x="220" y="70"/>
                  </a:cubicBezTo>
                  <a:cubicBezTo>
                    <a:pt x="228" y="78"/>
                    <a:pt x="232" y="90"/>
                    <a:pt x="232" y="105"/>
                  </a:cubicBezTo>
                  <a:cubicBezTo>
                    <a:pt x="232" y="278"/>
                    <a:pt x="232" y="278"/>
                    <a:pt x="232" y="278"/>
                  </a:cubicBezTo>
                  <a:cubicBezTo>
                    <a:pt x="232" y="293"/>
                    <a:pt x="228" y="305"/>
                    <a:pt x="220" y="313"/>
                  </a:cubicBezTo>
                  <a:cubicBezTo>
                    <a:pt x="206" y="327"/>
                    <a:pt x="185" y="326"/>
                    <a:pt x="185" y="326"/>
                  </a:cubicBezTo>
                  <a:cubicBezTo>
                    <a:pt x="184" y="326"/>
                    <a:pt x="184" y="326"/>
                    <a:pt x="184" y="326"/>
                  </a:cubicBezTo>
                  <a:cubicBezTo>
                    <a:pt x="184" y="326"/>
                    <a:pt x="121" y="326"/>
                    <a:pt x="105" y="326"/>
                  </a:cubicBezTo>
                  <a:cubicBezTo>
                    <a:pt x="82" y="326"/>
                    <a:pt x="64" y="333"/>
                    <a:pt x="51" y="346"/>
                  </a:cubicBezTo>
                  <a:cubicBezTo>
                    <a:pt x="36" y="362"/>
                    <a:pt x="33" y="383"/>
                    <a:pt x="33" y="393"/>
                  </a:cubicBezTo>
                  <a:cubicBezTo>
                    <a:pt x="14" y="398"/>
                    <a:pt x="0" y="415"/>
                    <a:pt x="0" y="436"/>
                  </a:cubicBezTo>
                  <a:cubicBezTo>
                    <a:pt x="0" y="436"/>
                    <a:pt x="0" y="436"/>
                    <a:pt x="0" y="436"/>
                  </a:cubicBezTo>
                  <a:cubicBezTo>
                    <a:pt x="90" y="436"/>
                    <a:pt x="90" y="436"/>
                    <a:pt x="90" y="436"/>
                  </a:cubicBezTo>
                  <a:cubicBezTo>
                    <a:pt x="90" y="436"/>
                    <a:pt x="90" y="436"/>
                    <a:pt x="90" y="436"/>
                  </a:cubicBezTo>
                  <a:cubicBezTo>
                    <a:pt x="90" y="415"/>
                    <a:pt x="76" y="398"/>
                    <a:pt x="57" y="393"/>
                  </a:cubicBezTo>
                  <a:cubicBezTo>
                    <a:pt x="58" y="386"/>
                    <a:pt x="60" y="373"/>
                    <a:pt x="69" y="363"/>
                  </a:cubicBezTo>
                  <a:cubicBezTo>
                    <a:pt x="77" y="354"/>
                    <a:pt x="89" y="350"/>
                    <a:pt x="105" y="350"/>
                  </a:cubicBezTo>
                  <a:cubicBezTo>
                    <a:pt x="121" y="350"/>
                    <a:pt x="180" y="350"/>
                    <a:pt x="184" y="350"/>
                  </a:cubicBezTo>
                  <a:cubicBezTo>
                    <a:pt x="188" y="350"/>
                    <a:pt x="216" y="351"/>
                    <a:pt x="236" y="331"/>
                  </a:cubicBezTo>
                  <a:cubicBezTo>
                    <a:pt x="250" y="318"/>
                    <a:pt x="257" y="301"/>
                    <a:pt x="257" y="278"/>
                  </a:cubicBezTo>
                  <a:cubicBezTo>
                    <a:pt x="257" y="105"/>
                    <a:pt x="257" y="105"/>
                    <a:pt x="257" y="105"/>
                  </a:cubicBezTo>
                  <a:cubicBezTo>
                    <a:pt x="257" y="83"/>
                    <a:pt x="250" y="65"/>
                    <a:pt x="236" y="52"/>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0" name="Freeform 50"/>
            <p:cNvSpPr>
              <a:spLocks/>
            </p:cNvSpPr>
            <p:nvPr/>
          </p:nvSpPr>
          <p:spPr bwMode="auto">
            <a:xfrm>
              <a:off x="2464" y="2414"/>
              <a:ext cx="152" cy="117"/>
            </a:xfrm>
            <a:custGeom>
              <a:avLst/>
              <a:gdLst>
                <a:gd name="T0" fmla="*/ 29 w 163"/>
                <a:gd name="T1" fmla="*/ 0 h 126"/>
                <a:gd name="T2" fmla="*/ 0 w 163"/>
                <a:gd name="T3" fmla="*/ 30 h 126"/>
                <a:gd name="T4" fmla="*/ 0 w 163"/>
                <a:gd name="T5" fmla="*/ 30 h 126"/>
                <a:gd name="T6" fmla="*/ 0 w 163"/>
                <a:gd name="T7" fmla="*/ 118 h 126"/>
                <a:gd name="T8" fmla="*/ 0 w 163"/>
                <a:gd name="T9" fmla="*/ 126 h 126"/>
                <a:gd name="T10" fmla="*/ 133 w 163"/>
                <a:gd name="T11" fmla="*/ 126 h 126"/>
                <a:gd name="T12" fmla="*/ 163 w 163"/>
                <a:gd name="T13" fmla="*/ 97 h 126"/>
                <a:gd name="T14" fmla="*/ 163 w 163"/>
                <a:gd name="T15" fmla="*/ 97 h 126"/>
                <a:gd name="T16" fmla="*/ 163 w 163"/>
                <a:gd name="T17" fmla="*/ 8 h 126"/>
                <a:gd name="T18" fmla="*/ 163 w 163"/>
                <a:gd name="T19" fmla="*/ 0 h 126"/>
                <a:gd name="T20" fmla="*/ 29 w 163"/>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26">
                  <a:moveTo>
                    <a:pt x="29" y="0"/>
                  </a:moveTo>
                  <a:cubicBezTo>
                    <a:pt x="13" y="0"/>
                    <a:pt x="0" y="14"/>
                    <a:pt x="0" y="30"/>
                  </a:cubicBezTo>
                  <a:cubicBezTo>
                    <a:pt x="0" y="30"/>
                    <a:pt x="0" y="30"/>
                    <a:pt x="0" y="30"/>
                  </a:cubicBezTo>
                  <a:cubicBezTo>
                    <a:pt x="0" y="118"/>
                    <a:pt x="0" y="118"/>
                    <a:pt x="0" y="118"/>
                  </a:cubicBezTo>
                  <a:cubicBezTo>
                    <a:pt x="0" y="126"/>
                    <a:pt x="0" y="126"/>
                    <a:pt x="0" y="126"/>
                  </a:cubicBezTo>
                  <a:cubicBezTo>
                    <a:pt x="133" y="126"/>
                    <a:pt x="133" y="126"/>
                    <a:pt x="133" y="126"/>
                  </a:cubicBezTo>
                  <a:cubicBezTo>
                    <a:pt x="150" y="126"/>
                    <a:pt x="163" y="113"/>
                    <a:pt x="163" y="97"/>
                  </a:cubicBezTo>
                  <a:cubicBezTo>
                    <a:pt x="163" y="97"/>
                    <a:pt x="163" y="97"/>
                    <a:pt x="163" y="97"/>
                  </a:cubicBezTo>
                  <a:cubicBezTo>
                    <a:pt x="163" y="8"/>
                    <a:pt x="163" y="8"/>
                    <a:pt x="163" y="8"/>
                  </a:cubicBezTo>
                  <a:cubicBezTo>
                    <a:pt x="163" y="0"/>
                    <a:pt x="163" y="0"/>
                    <a:pt x="163" y="0"/>
                  </a:cubicBezTo>
                  <a:lnTo>
                    <a:pt x="2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1" name="Oval 51"/>
            <p:cNvSpPr>
              <a:spLocks noChangeArrowheads="1"/>
            </p:cNvSpPr>
            <p:nvPr/>
          </p:nvSpPr>
          <p:spPr bwMode="auto">
            <a:xfrm>
              <a:off x="2521" y="2433"/>
              <a:ext cx="81" cy="80"/>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2" name="Freeform 52"/>
            <p:cNvSpPr>
              <a:spLocks/>
            </p:cNvSpPr>
            <p:nvPr/>
          </p:nvSpPr>
          <p:spPr bwMode="auto">
            <a:xfrm>
              <a:off x="2548" y="2443"/>
              <a:ext cx="27" cy="60"/>
            </a:xfrm>
            <a:custGeom>
              <a:avLst/>
              <a:gdLst>
                <a:gd name="T0" fmla="*/ 12 w 29"/>
                <a:gd name="T1" fmla="*/ 64 h 64"/>
                <a:gd name="T2" fmla="*/ 12 w 29"/>
                <a:gd name="T3" fmla="*/ 56 h 64"/>
                <a:gd name="T4" fmla="*/ 0 w 29"/>
                <a:gd name="T5" fmla="*/ 52 h 64"/>
                <a:gd name="T6" fmla="*/ 2 w 29"/>
                <a:gd name="T7" fmla="*/ 47 h 64"/>
                <a:gd name="T8" fmla="*/ 13 w 29"/>
                <a:gd name="T9" fmla="*/ 50 h 64"/>
                <a:gd name="T10" fmla="*/ 22 w 29"/>
                <a:gd name="T11" fmla="*/ 43 h 64"/>
                <a:gd name="T12" fmla="*/ 14 w 29"/>
                <a:gd name="T13" fmla="*/ 34 h 64"/>
                <a:gd name="T14" fmla="*/ 1 w 29"/>
                <a:gd name="T15" fmla="*/ 20 h 64"/>
                <a:gd name="T16" fmla="*/ 13 w 29"/>
                <a:gd name="T17" fmla="*/ 8 h 64"/>
                <a:gd name="T18" fmla="*/ 13 w 29"/>
                <a:gd name="T19" fmla="*/ 0 h 64"/>
                <a:gd name="T20" fmla="*/ 18 w 29"/>
                <a:gd name="T21" fmla="*/ 0 h 64"/>
                <a:gd name="T22" fmla="*/ 18 w 29"/>
                <a:gd name="T23" fmla="*/ 8 h 64"/>
                <a:gd name="T24" fmla="*/ 28 w 29"/>
                <a:gd name="T25" fmla="*/ 10 h 64"/>
                <a:gd name="T26" fmla="*/ 26 w 29"/>
                <a:gd name="T27" fmla="*/ 16 h 64"/>
                <a:gd name="T28" fmla="*/ 16 w 29"/>
                <a:gd name="T29" fmla="*/ 13 h 64"/>
                <a:gd name="T30" fmla="*/ 8 w 29"/>
                <a:gd name="T31" fmla="*/ 19 h 64"/>
                <a:gd name="T32" fmla="*/ 17 w 29"/>
                <a:gd name="T33" fmla="*/ 28 h 64"/>
                <a:gd name="T34" fmla="*/ 29 w 29"/>
                <a:gd name="T35" fmla="*/ 43 h 64"/>
                <a:gd name="T36" fmla="*/ 17 w 29"/>
                <a:gd name="T37" fmla="*/ 56 h 64"/>
                <a:gd name="T38" fmla="*/ 16 w 29"/>
                <a:gd name="T39" fmla="*/ 64 h 64"/>
                <a:gd name="T40" fmla="*/ 12 w 29"/>
                <a:gd name="T4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4">
                  <a:moveTo>
                    <a:pt x="12" y="64"/>
                  </a:moveTo>
                  <a:cubicBezTo>
                    <a:pt x="12" y="56"/>
                    <a:pt x="12" y="56"/>
                    <a:pt x="12" y="56"/>
                  </a:cubicBezTo>
                  <a:cubicBezTo>
                    <a:pt x="7" y="56"/>
                    <a:pt x="3" y="54"/>
                    <a:pt x="0" y="52"/>
                  </a:cubicBezTo>
                  <a:cubicBezTo>
                    <a:pt x="2" y="47"/>
                    <a:pt x="2" y="47"/>
                    <a:pt x="2" y="47"/>
                  </a:cubicBezTo>
                  <a:cubicBezTo>
                    <a:pt x="5" y="49"/>
                    <a:pt x="9" y="50"/>
                    <a:pt x="13" y="50"/>
                  </a:cubicBezTo>
                  <a:cubicBezTo>
                    <a:pt x="18" y="51"/>
                    <a:pt x="22" y="47"/>
                    <a:pt x="22" y="43"/>
                  </a:cubicBezTo>
                  <a:cubicBezTo>
                    <a:pt x="22" y="39"/>
                    <a:pt x="19" y="36"/>
                    <a:pt x="14" y="34"/>
                  </a:cubicBezTo>
                  <a:cubicBezTo>
                    <a:pt x="6" y="30"/>
                    <a:pt x="1" y="27"/>
                    <a:pt x="1" y="20"/>
                  </a:cubicBezTo>
                  <a:cubicBezTo>
                    <a:pt x="1" y="14"/>
                    <a:pt x="6" y="9"/>
                    <a:pt x="13" y="8"/>
                  </a:cubicBezTo>
                  <a:cubicBezTo>
                    <a:pt x="13" y="0"/>
                    <a:pt x="13" y="0"/>
                    <a:pt x="13" y="0"/>
                  </a:cubicBezTo>
                  <a:cubicBezTo>
                    <a:pt x="18" y="0"/>
                    <a:pt x="18" y="0"/>
                    <a:pt x="18" y="0"/>
                  </a:cubicBezTo>
                  <a:cubicBezTo>
                    <a:pt x="18" y="8"/>
                    <a:pt x="18" y="8"/>
                    <a:pt x="18" y="8"/>
                  </a:cubicBezTo>
                  <a:cubicBezTo>
                    <a:pt x="22" y="8"/>
                    <a:pt x="26" y="9"/>
                    <a:pt x="28" y="10"/>
                  </a:cubicBezTo>
                  <a:cubicBezTo>
                    <a:pt x="26" y="16"/>
                    <a:pt x="26" y="16"/>
                    <a:pt x="26" y="16"/>
                  </a:cubicBezTo>
                  <a:cubicBezTo>
                    <a:pt x="24" y="15"/>
                    <a:pt x="21" y="13"/>
                    <a:pt x="16" y="13"/>
                  </a:cubicBezTo>
                  <a:cubicBezTo>
                    <a:pt x="10" y="13"/>
                    <a:pt x="8" y="16"/>
                    <a:pt x="8" y="19"/>
                  </a:cubicBezTo>
                  <a:cubicBezTo>
                    <a:pt x="8" y="23"/>
                    <a:pt x="11" y="25"/>
                    <a:pt x="17" y="28"/>
                  </a:cubicBezTo>
                  <a:cubicBezTo>
                    <a:pt x="25" y="32"/>
                    <a:pt x="29" y="36"/>
                    <a:pt x="29" y="43"/>
                  </a:cubicBezTo>
                  <a:cubicBezTo>
                    <a:pt x="29" y="49"/>
                    <a:pt x="25" y="54"/>
                    <a:pt x="17" y="56"/>
                  </a:cubicBezTo>
                  <a:cubicBezTo>
                    <a:pt x="16" y="64"/>
                    <a:pt x="16" y="64"/>
                    <a:pt x="16" y="64"/>
                  </a:cubicBezTo>
                  <a:lnTo>
                    <a:pt x="12" y="64"/>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3" name="Freeform 53"/>
            <p:cNvSpPr>
              <a:spLocks/>
            </p:cNvSpPr>
            <p:nvPr/>
          </p:nvSpPr>
          <p:spPr bwMode="auto">
            <a:xfrm>
              <a:off x="2575" y="2364"/>
              <a:ext cx="41" cy="142"/>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4" name="Freeform 54"/>
            <p:cNvSpPr>
              <a:spLocks/>
            </p:cNvSpPr>
            <p:nvPr/>
          </p:nvSpPr>
          <p:spPr bwMode="auto">
            <a:xfrm>
              <a:off x="2575" y="2364"/>
              <a:ext cx="41" cy="142"/>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5" name="Freeform 55"/>
            <p:cNvSpPr>
              <a:spLocks/>
            </p:cNvSpPr>
            <p:nvPr/>
          </p:nvSpPr>
          <p:spPr bwMode="auto">
            <a:xfrm>
              <a:off x="2616" y="2500"/>
              <a:ext cx="0" cy="6"/>
            </a:xfrm>
            <a:custGeom>
              <a:avLst/>
              <a:gdLst>
                <a:gd name="T0" fmla="*/ 7 h 7"/>
                <a:gd name="T1" fmla="*/ 0 h 7"/>
                <a:gd name="T2" fmla="*/ 3 h 7"/>
                <a:gd name="T3" fmla="*/ 7 h 7"/>
              </a:gdLst>
              <a:ahLst/>
              <a:cxnLst>
                <a:cxn ang="0">
                  <a:pos x="0" y="T0"/>
                </a:cxn>
                <a:cxn ang="0">
                  <a:pos x="0" y="T1"/>
                </a:cxn>
                <a:cxn ang="0">
                  <a:pos x="0" y="T2"/>
                </a:cxn>
                <a:cxn ang="0">
                  <a:pos x="0" y="T3"/>
                </a:cxn>
              </a:cxnLst>
              <a:rect l="0" t="0" r="r" b="b"/>
              <a:pathLst>
                <a:path h="7">
                  <a:moveTo>
                    <a:pt x="0" y="7"/>
                  </a:moveTo>
                  <a:cubicBezTo>
                    <a:pt x="0" y="0"/>
                    <a:pt x="0" y="0"/>
                    <a:pt x="0" y="0"/>
                  </a:cubicBezTo>
                  <a:cubicBezTo>
                    <a:pt x="0" y="1"/>
                    <a:pt x="0" y="2"/>
                    <a:pt x="0" y="3"/>
                  </a:cubicBezTo>
                  <a:cubicBezTo>
                    <a:pt x="0" y="4"/>
                    <a:pt x="0" y="5"/>
                    <a:pt x="0" y="7"/>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6" name="Oval 56"/>
            <p:cNvSpPr>
              <a:spLocks noChangeArrowheads="1"/>
            </p:cNvSpPr>
            <p:nvPr/>
          </p:nvSpPr>
          <p:spPr bwMode="auto">
            <a:xfrm>
              <a:off x="2596" y="2519"/>
              <a:ext cx="130" cy="128"/>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7" name="Oval 57"/>
            <p:cNvSpPr>
              <a:spLocks noChangeArrowheads="1"/>
            </p:cNvSpPr>
            <p:nvPr/>
          </p:nvSpPr>
          <p:spPr bwMode="auto">
            <a:xfrm>
              <a:off x="2596" y="2511"/>
              <a:ext cx="130" cy="129"/>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8" name="Oval 58"/>
            <p:cNvSpPr>
              <a:spLocks noChangeArrowheads="1"/>
            </p:cNvSpPr>
            <p:nvPr/>
          </p:nvSpPr>
          <p:spPr bwMode="auto">
            <a:xfrm>
              <a:off x="2610" y="2525"/>
              <a:ext cx="102" cy="101"/>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9" name="Oval 59"/>
            <p:cNvSpPr>
              <a:spLocks noChangeArrowheads="1"/>
            </p:cNvSpPr>
            <p:nvPr/>
          </p:nvSpPr>
          <p:spPr bwMode="auto">
            <a:xfrm>
              <a:off x="2793"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0" name="Oval 60"/>
            <p:cNvSpPr>
              <a:spLocks noChangeArrowheads="1"/>
            </p:cNvSpPr>
            <p:nvPr/>
          </p:nvSpPr>
          <p:spPr bwMode="auto">
            <a:xfrm>
              <a:off x="2759" y="2689"/>
              <a:ext cx="22"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1" name="Oval 61"/>
            <p:cNvSpPr>
              <a:spLocks noChangeArrowheads="1"/>
            </p:cNvSpPr>
            <p:nvPr/>
          </p:nvSpPr>
          <p:spPr bwMode="auto">
            <a:xfrm>
              <a:off x="2727"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2" name="Oval 62"/>
            <p:cNvSpPr>
              <a:spLocks noChangeArrowheads="1"/>
            </p:cNvSpPr>
            <p:nvPr/>
          </p:nvSpPr>
          <p:spPr bwMode="auto">
            <a:xfrm>
              <a:off x="2694"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3" name="Oval 63"/>
            <p:cNvSpPr>
              <a:spLocks noChangeArrowheads="1"/>
            </p:cNvSpPr>
            <p:nvPr/>
          </p:nvSpPr>
          <p:spPr bwMode="auto">
            <a:xfrm>
              <a:off x="2660" y="2689"/>
              <a:ext cx="22"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4" name="Oval 64"/>
            <p:cNvSpPr>
              <a:spLocks noChangeArrowheads="1"/>
            </p:cNvSpPr>
            <p:nvPr/>
          </p:nvSpPr>
          <p:spPr bwMode="auto">
            <a:xfrm>
              <a:off x="2628"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5" name="Oval 65"/>
            <p:cNvSpPr>
              <a:spLocks noChangeArrowheads="1"/>
            </p:cNvSpPr>
            <p:nvPr/>
          </p:nvSpPr>
          <p:spPr bwMode="auto">
            <a:xfrm>
              <a:off x="2595"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6" name="Oval 66"/>
            <p:cNvSpPr>
              <a:spLocks noChangeArrowheads="1"/>
            </p:cNvSpPr>
            <p:nvPr/>
          </p:nvSpPr>
          <p:spPr bwMode="auto">
            <a:xfrm>
              <a:off x="2563"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7" name="Oval 67"/>
            <p:cNvSpPr>
              <a:spLocks noChangeArrowheads="1"/>
            </p:cNvSpPr>
            <p:nvPr/>
          </p:nvSpPr>
          <p:spPr bwMode="auto">
            <a:xfrm>
              <a:off x="2529"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8" name="Oval 68"/>
            <p:cNvSpPr>
              <a:spLocks noChangeArrowheads="1"/>
            </p:cNvSpPr>
            <p:nvPr/>
          </p:nvSpPr>
          <p:spPr bwMode="auto">
            <a:xfrm>
              <a:off x="2496"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9" name="Oval 69"/>
            <p:cNvSpPr>
              <a:spLocks noChangeArrowheads="1"/>
            </p:cNvSpPr>
            <p:nvPr/>
          </p:nvSpPr>
          <p:spPr bwMode="auto">
            <a:xfrm>
              <a:off x="2464"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0" name="Rectangle 70"/>
            <p:cNvSpPr>
              <a:spLocks noChangeArrowheads="1"/>
            </p:cNvSpPr>
            <p:nvPr/>
          </p:nvSpPr>
          <p:spPr bwMode="auto">
            <a:xfrm>
              <a:off x="2764" y="2725"/>
              <a:ext cx="14" cy="19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1" name="Rectangle 71"/>
            <p:cNvSpPr>
              <a:spLocks noChangeArrowheads="1"/>
            </p:cNvSpPr>
            <p:nvPr/>
          </p:nvSpPr>
          <p:spPr bwMode="auto">
            <a:xfrm>
              <a:off x="2771" y="2725"/>
              <a:ext cx="7" cy="19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2" name="Freeform 72"/>
            <p:cNvSpPr>
              <a:spLocks/>
            </p:cNvSpPr>
            <p:nvPr/>
          </p:nvSpPr>
          <p:spPr bwMode="auto">
            <a:xfrm>
              <a:off x="2770" y="2917"/>
              <a:ext cx="16" cy="12"/>
            </a:xfrm>
            <a:custGeom>
              <a:avLst/>
              <a:gdLst>
                <a:gd name="T0" fmla="*/ 0 w 17"/>
                <a:gd name="T1" fmla="*/ 0 h 13"/>
                <a:gd name="T2" fmla="*/ 1 w 17"/>
                <a:gd name="T3" fmla="*/ 0 h 13"/>
                <a:gd name="T4" fmla="*/ 17 w 17"/>
                <a:gd name="T5" fmla="*/ 13 h 13"/>
                <a:gd name="T6" fmla="*/ 9 w 17"/>
                <a:gd name="T7" fmla="*/ 13 h 13"/>
                <a:gd name="T8" fmla="*/ 0 w 17"/>
                <a:gd name="T9" fmla="*/ 0 h 13"/>
              </a:gdLst>
              <a:ahLst/>
              <a:cxnLst>
                <a:cxn ang="0">
                  <a:pos x="T0" y="T1"/>
                </a:cxn>
                <a:cxn ang="0">
                  <a:pos x="T2" y="T3"/>
                </a:cxn>
                <a:cxn ang="0">
                  <a:pos x="T4" y="T5"/>
                </a:cxn>
                <a:cxn ang="0">
                  <a:pos x="T6" y="T7"/>
                </a:cxn>
                <a:cxn ang="0">
                  <a:pos x="T8" y="T9"/>
                </a:cxn>
              </a:cxnLst>
              <a:rect l="0" t="0" r="r" b="b"/>
              <a:pathLst>
                <a:path w="17" h="13">
                  <a:moveTo>
                    <a:pt x="0" y="0"/>
                  </a:moveTo>
                  <a:cubicBezTo>
                    <a:pt x="0" y="0"/>
                    <a:pt x="1" y="0"/>
                    <a:pt x="1" y="0"/>
                  </a:cubicBezTo>
                  <a:cubicBezTo>
                    <a:pt x="8" y="0"/>
                    <a:pt x="15" y="6"/>
                    <a:pt x="17" y="13"/>
                  </a:cubicBezTo>
                  <a:cubicBezTo>
                    <a:pt x="9" y="13"/>
                    <a:pt x="9" y="13"/>
                    <a:pt x="9" y="13"/>
                  </a:cubicBezTo>
                  <a:cubicBezTo>
                    <a:pt x="8" y="8"/>
                    <a:pt x="5" y="3"/>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3" name="Freeform 73"/>
            <p:cNvSpPr>
              <a:spLocks/>
            </p:cNvSpPr>
            <p:nvPr/>
          </p:nvSpPr>
          <p:spPr bwMode="auto">
            <a:xfrm>
              <a:off x="1730" y="2011"/>
              <a:ext cx="434" cy="698"/>
            </a:xfrm>
            <a:custGeom>
              <a:avLst/>
              <a:gdLst>
                <a:gd name="T0" fmla="*/ 431 w 466"/>
                <a:gd name="T1" fmla="*/ 0 h 752"/>
                <a:gd name="T2" fmla="*/ 431 w 466"/>
                <a:gd name="T3" fmla="*/ 698 h 752"/>
                <a:gd name="T4" fmla="*/ 412 w 466"/>
                <a:gd name="T5" fmla="*/ 717 h 752"/>
                <a:gd name="T6" fmla="*/ 392 w 466"/>
                <a:gd name="T7" fmla="*/ 698 h 752"/>
                <a:gd name="T8" fmla="*/ 392 w 466"/>
                <a:gd name="T9" fmla="*/ 490 h 752"/>
                <a:gd name="T10" fmla="*/ 338 w 466"/>
                <a:gd name="T11" fmla="*/ 438 h 752"/>
                <a:gd name="T12" fmla="*/ 284 w 466"/>
                <a:gd name="T13" fmla="*/ 492 h 752"/>
                <a:gd name="T14" fmla="*/ 284 w 466"/>
                <a:gd name="T15" fmla="*/ 698 h 752"/>
                <a:gd name="T16" fmla="*/ 265 w 466"/>
                <a:gd name="T17" fmla="*/ 717 h 752"/>
                <a:gd name="T18" fmla="*/ 246 w 466"/>
                <a:gd name="T19" fmla="*/ 698 h 752"/>
                <a:gd name="T20" fmla="*/ 246 w 466"/>
                <a:gd name="T21" fmla="*/ 588 h 752"/>
                <a:gd name="T22" fmla="*/ 192 w 466"/>
                <a:gd name="T23" fmla="*/ 534 h 752"/>
                <a:gd name="T24" fmla="*/ 137 w 466"/>
                <a:gd name="T25" fmla="*/ 588 h 752"/>
                <a:gd name="T26" fmla="*/ 137 w 466"/>
                <a:gd name="T27" fmla="*/ 698 h 752"/>
                <a:gd name="T28" fmla="*/ 118 w 466"/>
                <a:gd name="T29" fmla="*/ 717 h 752"/>
                <a:gd name="T30" fmla="*/ 99 w 466"/>
                <a:gd name="T31" fmla="*/ 698 h 752"/>
                <a:gd name="T32" fmla="*/ 99 w 466"/>
                <a:gd name="T33" fmla="*/ 531 h 752"/>
                <a:gd name="T34" fmla="*/ 161 w 466"/>
                <a:gd name="T35" fmla="*/ 436 h 752"/>
                <a:gd name="T36" fmla="*/ 163 w 466"/>
                <a:gd name="T37" fmla="*/ 433 h 752"/>
                <a:gd name="T38" fmla="*/ 163 w 466"/>
                <a:gd name="T39" fmla="*/ 433 h 752"/>
                <a:gd name="T40" fmla="*/ 163 w 466"/>
                <a:gd name="T41" fmla="*/ 433 h 752"/>
                <a:gd name="T42" fmla="*/ 81 w 466"/>
                <a:gd name="T43" fmla="*/ 419 h 752"/>
                <a:gd name="T44" fmla="*/ 0 w 466"/>
                <a:gd name="T45" fmla="*/ 433 h 752"/>
                <a:gd name="T46" fmla="*/ 0 w 466"/>
                <a:gd name="T47" fmla="*/ 433 h 752"/>
                <a:gd name="T48" fmla="*/ 0 w 466"/>
                <a:gd name="T49" fmla="*/ 433 h 752"/>
                <a:gd name="T50" fmla="*/ 2 w 466"/>
                <a:gd name="T51" fmla="*/ 436 h 752"/>
                <a:gd name="T52" fmla="*/ 64 w 466"/>
                <a:gd name="T53" fmla="*/ 531 h 752"/>
                <a:gd name="T54" fmla="*/ 64 w 466"/>
                <a:gd name="T55" fmla="*/ 698 h 752"/>
                <a:gd name="T56" fmla="*/ 118 w 466"/>
                <a:gd name="T57" fmla="*/ 752 h 752"/>
                <a:gd name="T58" fmla="*/ 172 w 466"/>
                <a:gd name="T59" fmla="*/ 698 h 752"/>
                <a:gd name="T60" fmla="*/ 172 w 466"/>
                <a:gd name="T61" fmla="*/ 588 h 752"/>
                <a:gd name="T62" fmla="*/ 192 w 466"/>
                <a:gd name="T63" fmla="*/ 569 h 752"/>
                <a:gd name="T64" fmla="*/ 211 w 466"/>
                <a:gd name="T65" fmla="*/ 588 h 752"/>
                <a:gd name="T66" fmla="*/ 211 w 466"/>
                <a:gd name="T67" fmla="*/ 704 h 752"/>
                <a:gd name="T68" fmla="*/ 211 w 466"/>
                <a:gd name="T69" fmla="*/ 704 h 752"/>
                <a:gd name="T70" fmla="*/ 265 w 466"/>
                <a:gd name="T71" fmla="*/ 752 h 752"/>
                <a:gd name="T72" fmla="*/ 319 w 466"/>
                <a:gd name="T73" fmla="*/ 698 h 752"/>
                <a:gd name="T74" fmla="*/ 319 w 466"/>
                <a:gd name="T75" fmla="*/ 492 h 752"/>
                <a:gd name="T76" fmla="*/ 338 w 466"/>
                <a:gd name="T77" fmla="*/ 473 h 752"/>
                <a:gd name="T78" fmla="*/ 358 w 466"/>
                <a:gd name="T79" fmla="*/ 492 h 752"/>
                <a:gd name="T80" fmla="*/ 358 w 466"/>
                <a:gd name="T81" fmla="*/ 698 h 752"/>
                <a:gd name="T82" fmla="*/ 412 w 466"/>
                <a:gd name="T83" fmla="*/ 752 h 752"/>
                <a:gd name="T84" fmla="*/ 466 w 466"/>
                <a:gd name="T85" fmla="*/ 698 h 752"/>
                <a:gd name="T86" fmla="*/ 466 w 466"/>
                <a:gd name="T87" fmla="*/ 0 h 752"/>
                <a:gd name="T88" fmla="*/ 431 w 466"/>
                <a:gd name="T89"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6" h="752">
                  <a:moveTo>
                    <a:pt x="431" y="0"/>
                  </a:moveTo>
                  <a:cubicBezTo>
                    <a:pt x="431" y="698"/>
                    <a:pt x="431" y="698"/>
                    <a:pt x="431" y="698"/>
                  </a:cubicBezTo>
                  <a:cubicBezTo>
                    <a:pt x="431" y="709"/>
                    <a:pt x="422" y="717"/>
                    <a:pt x="412" y="717"/>
                  </a:cubicBezTo>
                  <a:cubicBezTo>
                    <a:pt x="401" y="717"/>
                    <a:pt x="392" y="709"/>
                    <a:pt x="392" y="698"/>
                  </a:cubicBezTo>
                  <a:cubicBezTo>
                    <a:pt x="392" y="490"/>
                    <a:pt x="392" y="490"/>
                    <a:pt x="392" y="490"/>
                  </a:cubicBezTo>
                  <a:cubicBezTo>
                    <a:pt x="391" y="461"/>
                    <a:pt x="367" y="438"/>
                    <a:pt x="338" y="438"/>
                  </a:cubicBezTo>
                  <a:cubicBezTo>
                    <a:pt x="308" y="438"/>
                    <a:pt x="284" y="462"/>
                    <a:pt x="284" y="492"/>
                  </a:cubicBezTo>
                  <a:cubicBezTo>
                    <a:pt x="284" y="698"/>
                    <a:pt x="284" y="698"/>
                    <a:pt x="284" y="698"/>
                  </a:cubicBezTo>
                  <a:cubicBezTo>
                    <a:pt x="284" y="709"/>
                    <a:pt x="276" y="717"/>
                    <a:pt x="265" y="717"/>
                  </a:cubicBezTo>
                  <a:cubicBezTo>
                    <a:pt x="254" y="717"/>
                    <a:pt x="246" y="709"/>
                    <a:pt x="246" y="698"/>
                  </a:cubicBezTo>
                  <a:cubicBezTo>
                    <a:pt x="246" y="588"/>
                    <a:pt x="246" y="588"/>
                    <a:pt x="246" y="588"/>
                  </a:cubicBezTo>
                  <a:cubicBezTo>
                    <a:pt x="246" y="558"/>
                    <a:pt x="221" y="534"/>
                    <a:pt x="192" y="534"/>
                  </a:cubicBezTo>
                  <a:cubicBezTo>
                    <a:pt x="162" y="534"/>
                    <a:pt x="137" y="558"/>
                    <a:pt x="137" y="588"/>
                  </a:cubicBezTo>
                  <a:cubicBezTo>
                    <a:pt x="137" y="698"/>
                    <a:pt x="137" y="698"/>
                    <a:pt x="137" y="698"/>
                  </a:cubicBezTo>
                  <a:cubicBezTo>
                    <a:pt x="137" y="709"/>
                    <a:pt x="129" y="717"/>
                    <a:pt x="118" y="717"/>
                  </a:cubicBezTo>
                  <a:cubicBezTo>
                    <a:pt x="108" y="717"/>
                    <a:pt x="99" y="709"/>
                    <a:pt x="99" y="698"/>
                  </a:cubicBezTo>
                  <a:cubicBezTo>
                    <a:pt x="99" y="531"/>
                    <a:pt x="99" y="531"/>
                    <a:pt x="99" y="531"/>
                  </a:cubicBezTo>
                  <a:cubicBezTo>
                    <a:pt x="161" y="436"/>
                    <a:pt x="161" y="436"/>
                    <a:pt x="161" y="436"/>
                  </a:cubicBezTo>
                  <a:cubicBezTo>
                    <a:pt x="162" y="435"/>
                    <a:pt x="163" y="434"/>
                    <a:pt x="163" y="433"/>
                  </a:cubicBezTo>
                  <a:cubicBezTo>
                    <a:pt x="163" y="433"/>
                    <a:pt x="163" y="433"/>
                    <a:pt x="163" y="433"/>
                  </a:cubicBezTo>
                  <a:cubicBezTo>
                    <a:pt x="163" y="433"/>
                    <a:pt x="163" y="433"/>
                    <a:pt x="163" y="433"/>
                  </a:cubicBezTo>
                  <a:cubicBezTo>
                    <a:pt x="162" y="425"/>
                    <a:pt x="126" y="419"/>
                    <a:pt x="81" y="419"/>
                  </a:cubicBezTo>
                  <a:cubicBezTo>
                    <a:pt x="37" y="419"/>
                    <a:pt x="1" y="425"/>
                    <a:pt x="0" y="433"/>
                  </a:cubicBezTo>
                  <a:cubicBezTo>
                    <a:pt x="0" y="433"/>
                    <a:pt x="0" y="433"/>
                    <a:pt x="0" y="433"/>
                  </a:cubicBezTo>
                  <a:cubicBezTo>
                    <a:pt x="0" y="433"/>
                    <a:pt x="0" y="433"/>
                    <a:pt x="0" y="433"/>
                  </a:cubicBezTo>
                  <a:cubicBezTo>
                    <a:pt x="0" y="434"/>
                    <a:pt x="1" y="435"/>
                    <a:pt x="2" y="436"/>
                  </a:cubicBezTo>
                  <a:cubicBezTo>
                    <a:pt x="64" y="531"/>
                    <a:pt x="64" y="531"/>
                    <a:pt x="64" y="531"/>
                  </a:cubicBezTo>
                  <a:cubicBezTo>
                    <a:pt x="64" y="698"/>
                    <a:pt x="64" y="698"/>
                    <a:pt x="64" y="698"/>
                  </a:cubicBezTo>
                  <a:cubicBezTo>
                    <a:pt x="64" y="728"/>
                    <a:pt x="88" y="752"/>
                    <a:pt x="118" y="752"/>
                  </a:cubicBezTo>
                  <a:cubicBezTo>
                    <a:pt x="148" y="752"/>
                    <a:pt x="172" y="728"/>
                    <a:pt x="172" y="698"/>
                  </a:cubicBezTo>
                  <a:cubicBezTo>
                    <a:pt x="172" y="588"/>
                    <a:pt x="172" y="588"/>
                    <a:pt x="172" y="588"/>
                  </a:cubicBezTo>
                  <a:cubicBezTo>
                    <a:pt x="172" y="577"/>
                    <a:pt x="181" y="569"/>
                    <a:pt x="192" y="569"/>
                  </a:cubicBezTo>
                  <a:cubicBezTo>
                    <a:pt x="202" y="569"/>
                    <a:pt x="211" y="577"/>
                    <a:pt x="211" y="588"/>
                  </a:cubicBezTo>
                  <a:cubicBezTo>
                    <a:pt x="211" y="704"/>
                    <a:pt x="211" y="704"/>
                    <a:pt x="211" y="704"/>
                  </a:cubicBezTo>
                  <a:cubicBezTo>
                    <a:pt x="211" y="704"/>
                    <a:pt x="211" y="704"/>
                    <a:pt x="211" y="704"/>
                  </a:cubicBezTo>
                  <a:cubicBezTo>
                    <a:pt x="214" y="731"/>
                    <a:pt x="237" y="752"/>
                    <a:pt x="265" y="752"/>
                  </a:cubicBezTo>
                  <a:cubicBezTo>
                    <a:pt x="295" y="752"/>
                    <a:pt x="319" y="728"/>
                    <a:pt x="319" y="698"/>
                  </a:cubicBezTo>
                  <a:cubicBezTo>
                    <a:pt x="319" y="492"/>
                    <a:pt x="319" y="492"/>
                    <a:pt x="319" y="492"/>
                  </a:cubicBezTo>
                  <a:cubicBezTo>
                    <a:pt x="319" y="481"/>
                    <a:pt x="328" y="473"/>
                    <a:pt x="338" y="473"/>
                  </a:cubicBezTo>
                  <a:cubicBezTo>
                    <a:pt x="349" y="473"/>
                    <a:pt x="358" y="481"/>
                    <a:pt x="358" y="492"/>
                  </a:cubicBezTo>
                  <a:cubicBezTo>
                    <a:pt x="358" y="698"/>
                    <a:pt x="358" y="698"/>
                    <a:pt x="358" y="698"/>
                  </a:cubicBezTo>
                  <a:cubicBezTo>
                    <a:pt x="358" y="728"/>
                    <a:pt x="382" y="752"/>
                    <a:pt x="412" y="752"/>
                  </a:cubicBezTo>
                  <a:cubicBezTo>
                    <a:pt x="442" y="752"/>
                    <a:pt x="466" y="728"/>
                    <a:pt x="466" y="698"/>
                  </a:cubicBezTo>
                  <a:cubicBezTo>
                    <a:pt x="466" y="0"/>
                    <a:pt x="466" y="0"/>
                    <a:pt x="466" y="0"/>
                  </a:cubicBezTo>
                  <a:lnTo>
                    <a:pt x="431"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4" name="Oval 74"/>
            <p:cNvSpPr>
              <a:spLocks noChangeArrowheads="1"/>
            </p:cNvSpPr>
            <p:nvPr/>
          </p:nvSpPr>
          <p:spPr bwMode="auto">
            <a:xfrm>
              <a:off x="1730" y="2400"/>
              <a:ext cx="152" cy="26"/>
            </a:xfrm>
            <a:prstGeom prst="ellipse">
              <a:avLst/>
            </a:pr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5" name="Freeform 75"/>
            <p:cNvSpPr>
              <a:spLocks/>
            </p:cNvSpPr>
            <p:nvPr/>
          </p:nvSpPr>
          <p:spPr bwMode="auto">
            <a:xfrm>
              <a:off x="2329" y="2268"/>
              <a:ext cx="45" cy="42"/>
            </a:xfrm>
            <a:custGeom>
              <a:avLst/>
              <a:gdLst>
                <a:gd name="T0" fmla="*/ 3 w 48"/>
                <a:gd name="T1" fmla="*/ 0 h 45"/>
                <a:gd name="T2" fmla="*/ 0 w 48"/>
                <a:gd name="T3" fmla="*/ 0 h 45"/>
                <a:gd name="T4" fmla="*/ 31 w 48"/>
                <a:gd name="T5" fmla="*/ 45 h 45"/>
                <a:gd name="T6" fmla="*/ 48 w 48"/>
                <a:gd name="T7" fmla="*/ 45 h 45"/>
                <a:gd name="T8" fmla="*/ 48 w 48"/>
                <a:gd name="T9" fmla="*/ 45 h 45"/>
                <a:gd name="T10" fmla="*/ 3 w 48"/>
                <a:gd name="T11" fmla="*/ 0 h 45"/>
              </a:gdLst>
              <a:ahLst/>
              <a:cxnLst>
                <a:cxn ang="0">
                  <a:pos x="T0" y="T1"/>
                </a:cxn>
                <a:cxn ang="0">
                  <a:pos x="T2" y="T3"/>
                </a:cxn>
                <a:cxn ang="0">
                  <a:pos x="T4" y="T5"/>
                </a:cxn>
                <a:cxn ang="0">
                  <a:pos x="T6" y="T7"/>
                </a:cxn>
                <a:cxn ang="0">
                  <a:pos x="T8" y="T9"/>
                </a:cxn>
                <a:cxn ang="0">
                  <a:pos x="T10" y="T11"/>
                </a:cxn>
              </a:cxnLst>
              <a:rect l="0" t="0" r="r" b="b"/>
              <a:pathLst>
                <a:path w="48" h="45">
                  <a:moveTo>
                    <a:pt x="3" y="0"/>
                  </a:moveTo>
                  <a:cubicBezTo>
                    <a:pt x="2" y="0"/>
                    <a:pt x="1" y="0"/>
                    <a:pt x="0" y="0"/>
                  </a:cubicBezTo>
                  <a:cubicBezTo>
                    <a:pt x="17" y="9"/>
                    <a:pt x="29" y="26"/>
                    <a:pt x="31" y="45"/>
                  </a:cubicBezTo>
                  <a:cubicBezTo>
                    <a:pt x="48" y="45"/>
                    <a:pt x="48" y="45"/>
                    <a:pt x="48" y="45"/>
                  </a:cubicBezTo>
                  <a:cubicBezTo>
                    <a:pt x="48" y="45"/>
                    <a:pt x="48" y="45"/>
                    <a:pt x="48" y="45"/>
                  </a:cubicBezTo>
                  <a:cubicBezTo>
                    <a:pt x="48" y="20"/>
                    <a:pt x="27" y="0"/>
                    <a:pt x="3" y="0"/>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6" name="Freeform 76"/>
            <p:cNvSpPr>
              <a:spLocks/>
            </p:cNvSpPr>
            <p:nvPr/>
          </p:nvSpPr>
          <p:spPr bwMode="auto">
            <a:xfrm>
              <a:off x="2411" y="2909"/>
              <a:ext cx="23" cy="12"/>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7" name="Freeform 77"/>
            <p:cNvSpPr>
              <a:spLocks/>
            </p:cNvSpPr>
            <p:nvPr/>
          </p:nvSpPr>
          <p:spPr bwMode="auto">
            <a:xfrm>
              <a:off x="2224" y="2909"/>
              <a:ext cx="21" cy="12"/>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8" name="Rectangle 78"/>
            <p:cNvSpPr>
              <a:spLocks noChangeArrowheads="1"/>
            </p:cNvSpPr>
            <p:nvPr/>
          </p:nvSpPr>
          <p:spPr bwMode="auto">
            <a:xfrm>
              <a:off x="2459" y="2364"/>
              <a:ext cx="24" cy="299"/>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9" name="Freeform 79"/>
            <p:cNvSpPr>
              <a:spLocks/>
            </p:cNvSpPr>
            <p:nvPr/>
          </p:nvSpPr>
          <p:spPr bwMode="auto">
            <a:xfrm>
              <a:off x="2191" y="2310"/>
              <a:ext cx="275" cy="605"/>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0" name="Freeform 80"/>
            <p:cNvSpPr>
              <a:spLocks/>
            </p:cNvSpPr>
            <p:nvPr/>
          </p:nvSpPr>
          <p:spPr bwMode="auto">
            <a:xfrm>
              <a:off x="2240" y="2365"/>
              <a:ext cx="178" cy="89"/>
            </a:xfrm>
            <a:custGeom>
              <a:avLst/>
              <a:gdLst>
                <a:gd name="T0" fmla="*/ 95 w 191"/>
                <a:gd name="T1" fmla="*/ 0 h 96"/>
                <a:gd name="T2" fmla="*/ 0 w 191"/>
                <a:gd name="T3" fmla="*/ 96 h 96"/>
                <a:gd name="T4" fmla="*/ 191 w 191"/>
                <a:gd name="T5" fmla="*/ 96 h 96"/>
                <a:gd name="T6" fmla="*/ 95 w 191"/>
                <a:gd name="T7" fmla="*/ 0 h 96"/>
              </a:gdLst>
              <a:ahLst/>
              <a:cxnLst>
                <a:cxn ang="0">
                  <a:pos x="T0" y="T1"/>
                </a:cxn>
                <a:cxn ang="0">
                  <a:pos x="T2" y="T3"/>
                </a:cxn>
                <a:cxn ang="0">
                  <a:pos x="T4" y="T5"/>
                </a:cxn>
                <a:cxn ang="0">
                  <a:pos x="T6" y="T7"/>
                </a:cxn>
              </a:cxnLst>
              <a:rect l="0" t="0" r="r" b="b"/>
              <a:pathLst>
                <a:path w="191" h="96">
                  <a:moveTo>
                    <a:pt x="95" y="0"/>
                  </a:moveTo>
                  <a:cubicBezTo>
                    <a:pt x="43" y="0"/>
                    <a:pt x="0" y="43"/>
                    <a:pt x="0" y="96"/>
                  </a:cubicBezTo>
                  <a:cubicBezTo>
                    <a:pt x="191" y="96"/>
                    <a:pt x="191" y="96"/>
                    <a:pt x="191" y="96"/>
                  </a:cubicBezTo>
                  <a:cubicBezTo>
                    <a:pt x="191" y="43"/>
                    <a:pt x="148" y="0"/>
                    <a:pt x="95" y="0"/>
                  </a:cubicBez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1" name="Oval 81"/>
            <p:cNvSpPr>
              <a:spLocks noChangeArrowheads="1"/>
            </p:cNvSpPr>
            <p:nvPr/>
          </p:nvSpPr>
          <p:spPr bwMode="auto">
            <a:xfrm>
              <a:off x="2318" y="2426"/>
              <a:ext cx="22" cy="2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2" name="Freeform 82"/>
            <p:cNvSpPr>
              <a:spLocks/>
            </p:cNvSpPr>
            <p:nvPr/>
          </p:nvSpPr>
          <p:spPr bwMode="auto">
            <a:xfrm>
              <a:off x="2319" y="2389"/>
              <a:ext cx="66" cy="57"/>
            </a:xfrm>
            <a:custGeom>
              <a:avLst/>
              <a:gdLst>
                <a:gd name="T0" fmla="*/ 7 w 66"/>
                <a:gd name="T1" fmla="*/ 57 h 57"/>
                <a:gd name="T2" fmla="*/ 0 w 66"/>
                <a:gd name="T3" fmla="*/ 48 h 57"/>
                <a:gd name="T4" fmla="*/ 66 w 66"/>
                <a:gd name="T5" fmla="*/ 0 h 57"/>
                <a:gd name="T6" fmla="*/ 7 w 66"/>
                <a:gd name="T7" fmla="*/ 57 h 57"/>
              </a:gdLst>
              <a:ahLst/>
              <a:cxnLst>
                <a:cxn ang="0">
                  <a:pos x="T0" y="T1"/>
                </a:cxn>
                <a:cxn ang="0">
                  <a:pos x="T2" y="T3"/>
                </a:cxn>
                <a:cxn ang="0">
                  <a:pos x="T4" y="T5"/>
                </a:cxn>
                <a:cxn ang="0">
                  <a:pos x="T6" y="T7"/>
                </a:cxn>
              </a:cxnLst>
              <a:rect l="0" t="0" r="r" b="b"/>
              <a:pathLst>
                <a:path w="66" h="57">
                  <a:moveTo>
                    <a:pt x="7" y="57"/>
                  </a:moveTo>
                  <a:lnTo>
                    <a:pt x="0" y="48"/>
                  </a:lnTo>
                  <a:lnTo>
                    <a:pt x="66" y="0"/>
                  </a:lnTo>
                  <a:lnTo>
                    <a:pt x="7" y="57"/>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3" name="Freeform 83"/>
            <p:cNvSpPr>
              <a:spLocks/>
            </p:cNvSpPr>
            <p:nvPr/>
          </p:nvSpPr>
          <p:spPr bwMode="auto">
            <a:xfrm>
              <a:off x="2304" y="2480"/>
              <a:ext cx="49" cy="49"/>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4" name="Oval 84"/>
            <p:cNvSpPr>
              <a:spLocks noChangeArrowheads="1"/>
            </p:cNvSpPr>
            <p:nvPr/>
          </p:nvSpPr>
          <p:spPr bwMode="auto">
            <a:xfrm>
              <a:off x="2376" y="2482"/>
              <a:ext cx="44" cy="44"/>
            </a:xfrm>
            <a:prstGeom prst="ellipse">
              <a:avLst/>
            </a:pr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5" name="Freeform 85"/>
            <p:cNvSpPr>
              <a:spLocks/>
            </p:cNvSpPr>
            <p:nvPr/>
          </p:nvSpPr>
          <p:spPr bwMode="auto">
            <a:xfrm>
              <a:off x="2235" y="2480"/>
              <a:ext cx="49" cy="49"/>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A94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6" name="Freeform 86"/>
            <p:cNvSpPr>
              <a:spLocks/>
            </p:cNvSpPr>
            <p:nvPr/>
          </p:nvSpPr>
          <p:spPr bwMode="auto">
            <a:xfrm>
              <a:off x="2335" y="1944"/>
              <a:ext cx="42" cy="45"/>
            </a:xfrm>
            <a:custGeom>
              <a:avLst/>
              <a:gdLst>
                <a:gd name="T0" fmla="*/ 45 w 45"/>
                <a:gd name="T1" fmla="*/ 3 h 48"/>
                <a:gd name="T2" fmla="*/ 45 w 45"/>
                <a:gd name="T3" fmla="*/ 0 h 48"/>
                <a:gd name="T4" fmla="*/ 0 w 45"/>
                <a:gd name="T5" fmla="*/ 31 h 48"/>
                <a:gd name="T6" fmla="*/ 0 w 45"/>
                <a:gd name="T7" fmla="*/ 48 h 48"/>
                <a:gd name="T8" fmla="*/ 0 w 45"/>
                <a:gd name="T9" fmla="*/ 48 h 48"/>
                <a:gd name="T10" fmla="*/ 45 w 45"/>
                <a:gd name="T11" fmla="*/ 3 h 48"/>
              </a:gdLst>
              <a:ahLst/>
              <a:cxnLst>
                <a:cxn ang="0">
                  <a:pos x="T0" y="T1"/>
                </a:cxn>
                <a:cxn ang="0">
                  <a:pos x="T2" y="T3"/>
                </a:cxn>
                <a:cxn ang="0">
                  <a:pos x="T4" y="T5"/>
                </a:cxn>
                <a:cxn ang="0">
                  <a:pos x="T6" y="T7"/>
                </a:cxn>
                <a:cxn ang="0">
                  <a:pos x="T8" y="T9"/>
                </a:cxn>
                <a:cxn ang="0">
                  <a:pos x="T10" y="T11"/>
                </a:cxn>
              </a:cxnLst>
              <a:rect l="0" t="0" r="r" b="b"/>
              <a:pathLst>
                <a:path w="45" h="48">
                  <a:moveTo>
                    <a:pt x="45" y="3"/>
                  </a:moveTo>
                  <a:cubicBezTo>
                    <a:pt x="45" y="2"/>
                    <a:pt x="45" y="1"/>
                    <a:pt x="45" y="0"/>
                  </a:cubicBezTo>
                  <a:cubicBezTo>
                    <a:pt x="36" y="18"/>
                    <a:pt x="19" y="29"/>
                    <a:pt x="0" y="31"/>
                  </a:cubicBezTo>
                  <a:cubicBezTo>
                    <a:pt x="0" y="48"/>
                    <a:pt x="0" y="48"/>
                    <a:pt x="0" y="48"/>
                  </a:cubicBezTo>
                  <a:cubicBezTo>
                    <a:pt x="0" y="48"/>
                    <a:pt x="0" y="48"/>
                    <a:pt x="0" y="48"/>
                  </a:cubicBezTo>
                  <a:cubicBezTo>
                    <a:pt x="25" y="48"/>
                    <a:pt x="45" y="28"/>
                    <a:pt x="45" y="3"/>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7" name="Freeform 87"/>
            <p:cNvSpPr>
              <a:spLocks/>
            </p:cNvSpPr>
            <p:nvPr/>
          </p:nvSpPr>
          <p:spPr bwMode="auto">
            <a:xfrm>
              <a:off x="2038" y="1728"/>
              <a:ext cx="221" cy="2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solidFill>
              <a:srgbClr val="FFF2E2"/>
            </a:solid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8" name="Freeform 88"/>
            <p:cNvSpPr>
              <a:spLocks/>
            </p:cNvSpPr>
            <p:nvPr/>
          </p:nvSpPr>
          <p:spPr bwMode="auto">
            <a:xfrm>
              <a:off x="2038" y="1728"/>
              <a:ext cx="221" cy="2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9" name="Freeform 89"/>
            <p:cNvSpPr>
              <a:spLocks/>
            </p:cNvSpPr>
            <p:nvPr/>
          </p:nvSpPr>
          <p:spPr bwMode="auto">
            <a:xfrm>
              <a:off x="2069" y="1758"/>
              <a:ext cx="79" cy="80"/>
            </a:xfrm>
            <a:custGeom>
              <a:avLst/>
              <a:gdLst>
                <a:gd name="T0" fmla="*/ 0 w 85"/>
                <a:gd name="T1" fmla="*/ 86 h 86"/>
                <a:gd name="T2" fmla="*/ 85 w 85"/>
                <a:gd name="T3" fmla="*/ 0 h 86"/>
              </a:gdLst>
              <a:ahLst/>
              <a:cxnLst>
                <a:cxn ang="0">
                  <a:pos x="T0" y="T1"/>
                </a:cxn>
                <a:cxn ang="0">
                  <a:pos x="T2" y="T3"/>
                </a:cxn>
              </a:cxnLst>
              <a:rect l="0" t="0" r="r" b="b"/>
              <a:pathLst>
                <a:path w="85" h="86">
                  <a:moveTo>
                    <a:pt x="0" y="86"/>
                  </a:moveTo>
                  <a:cubicBezTo>
                    <a:pt x="0" y="39"/>
                    <a:pt x="38" y="0"/>
                    <a:pt x="85" y="0"/>
                  </a:cubicBezTo>
                </a:path>
              </a:pathLst>
            </a:custGeom>
            <a:noFill/>
            <a:ln w="1587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0" name="Freeform 90"/>
            <p:cNvSpPr>
              <a:spLocks/>
            </p:cNvSpPr>
            <p:nvPr/>
          </p:nvSpPr>
          <p:spPr bwMode="auto">
            <a:xfrm>
              <a:off x="2646" y="1912"/>
              <a:ext cx="120" cy="93"/>
            </a:xfrm>
            <a:custGeom>
              <a:avLst/>
              <a:gdLst>
                <a:gd name="T0" fmla="*/ 127 w 128"/>
                <a:gd name="T1" fmla="*/ 97 h 101"/>
                <a:gd name="T2" fmla="*/ 82 w 128"/>
                <a:gd name="T3" fmla="*/ 66 h 101"/>
                <a:gd name="T4" fmla="*/ 84 w 128"/>
                <a:gd name="T5" fmla="*/ 60 h 101"/>
                <a:gd name="T6" fmla="*/ 78 w 128"/>
                <a:gd name="T7" fmla="*/ 48 h 101"/>
                <a:gd name="T8" fmla="*/ 78 w 128"/>
                <a:gd name="T9" fmla="*/ 8 h 101"/>
                <a:gd name="T10" fmla="*/ 70 w 128"/>
                <a:gd name="T11" fmla="*/ 0 h 101"/>
                <a:gd name="T12" fmla="*/ 62 w 128"/>
                <a:gd name="T13" fmla="*/ 8 h 101"/>
                <a:gd name="T14" fmla="*/ 62 w 128"/>
                <a:gd name="T15" fmla="*/ 48 h 101"/>
                <a:gd name="T16" fmla="*/ 56 w 128"/>
                <a:gd name="T17" fmla="*/ 56 h 101"/>
                <a:gd name="T18" fmla="*/ 5 w 128"/>
                <a:gd name="T19" fmla="*/ 77 h 101"/>
                <a:gd name="T20" fmla="*/ 1 w 128"/>
                <a:gd name="T21" fmla="*/ 87 h 101"/>
                <a:gd name="T22" fmla="*/ 8 w 128"/>
                <a:gd name="T23" fmla="*/ 92 h 101"/>
                <a:gd name="T24" fmla="*/ 11 w 128"/>
                <a:gd name="T25" fmla="*/ 91 h 101"/>
                <a:gd name="T26" fmla="*/ 62 w 128"/>
                <a:gd name="T27" fmla="*/ 71 h 101"/>
                <a:gd name="T28" fmla="*/ 70 w 128"/>
                <a:gd name="T29" fmla="*/ 74 h 101"/>
                <a:gd name="T30" fmla="*/ 80 w 128"/>
                <a:gd name="T31" fmla="*/ 69 h 101"/>
                <a:gd name="T32" fmla="*/ 125 w 128"/>
                <a:gd name="T33" fmla="*/ 101 h 101"/>
                <a:gd name="T34" fmla="*/ 126 w 128"/>
                <a:gd name="T35" fmla="*/ 101 h 101"/>
                <a:gd name="T36" fmla="*/ 128 w 128"/>
                <a:gd name="T37" fmla="*/ 100 h 101"/>
                <a:gd name="T38" fmla="*/ 127 w 128"/>
                <a:gd name="T39" fmla="*/ 9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01">
                  <a:moveTo>
                    <a:pt x="127" y="97"/>
                  </a:moveTo>
                  <a:cubicBezTo>
                    <a:pt x="82" y="66"/>
                    <a:pt x="82" y="66"/>
                    <a:pt x="82" y="66"/>
                  </a:cubicBezTo>
                  <a:cubicBezTo>
                    <a:pt x="83" y="64"/>
                    <a:pt x="84" y="62"/>
                    <a:pt x="84" y="60"/>
                  </a:cubicBezTo>
                  <a:cubicBezTo>
                    <a:pt x="84" y="55"/>
                    <a:pt x="81" y="50"/>
                    <a:pt x="78" y="48"/>
                  </a:cubicBezTo>
                  <a:cubicBezTo>
                    <a:pt x="78" y="8"/>
                    <a:pt x="78" y="8"/>
                    <a:pt x="78" y="8"/>
                  </a:cubicBezTo>
                  <a:cubicBezTo>
                    <a:pt x="78" y="3"/>
                    <a:pt x="74" y="0"/>
                    <a:pt x="70" y="0"/>
                  </a:cubicBezTo>
                  <a:cubicBezTo>
                    <a:pt x="66" y="0"/>
                    <a:pt x="62" y="3"/>
                    <a:pt x="62" y="8"/>
                  </a:cubicBezTo>
                  <a:cubicBezTo>
                    <a:pt x="62" y="48"/>
                    <a:pt x="62" y="48"/>
                    <a:pt x="62" y="48"/>
                  </a:cubicBezTo>
                  <a:cubicBezTo>
                    <a:pt x="59" y="50"/>
                    <a:pt x="57" y="53"/>
                    <a:pt x="56" y="56"/>
                  </a:cubicBezTo>
                  <a:cubicBezTo>
                    <a:pt x="5" y="77"/>
                    <a:pt x="5" y="77"/>
                    <a:pt x="5" y="77"/>
                  </a:cubicBezTo>
                  <a:cubicBezTo>
                    <a:pt x="2" y="79"/>
                    <a:pt x="0" y="83"/>
                    <a:pt x="1" y="87"/>
                  </a:cubicBezTo>
                  <a:cubicBezTo>
                    <a:pt x="3" y="90"/>
                    <a:pt x="5" y="92"/>
                    <a:pt x="8" y="92"/>
                  </a:cubicBezTo>
                  <a:cubicBezTo>
                    <a:pt x="9" y="92"/>
                    <a:pt x="10" y="92"/>
                    <a:pt x="11" y="91"/>
                  </a:cubicBezTo>
                  <a:cubicBezTo>
                    <a:pt x="62" y="71"/>
                    <a:pt x="62" y="71"/>
                    <a:pt x="62" y="71"/>
                  </a:cubicBezTo>
                  <a:cubicBezTo>
                    <a:pt x="64" y="72"/>
                    <a:pt x="67" y="74"/>
                    <a:pt x="70" y="74"/>
                  </a:cubicBezTo>
                  <a:cubicBezTo>
                    <a:pt x="74" y="74"/>
                    <a:pt x="78" y="72"/>
                    <a:pt x="80" y="69"/>
                  </a:cubicBezTo>
                  <a:cubicBezTo>
                    <a:pt x="125" y="101"/>
                    <a:pt x="125" y="101"/>
                    <a:pt x="125" y="101"/>
                  </a:cubicBezTo>
                  <a:cubicBezTo>
                    <a:pt x="125" y="101"/>
                    <a:pt x="126" y="101"/>
                    <a:pt x="126" y="101"/>
                  </a:cubicBezTo>
                  <a:cubicBezTo>
                    <a:pt x="127" y="101"/>
                    <a:pt x="127" y="101"/>
                    <a:pt x="128" y="100"/>
                  </a:cubicBezTo>
                  <a:cubicBezTo>
                    <a:pt x="128" y="99"/>
                    <a:pt x="128" y="98"/>
                    <a:pt x="127" y="97"/>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1" name="Freeform 91"/>
            <p:cNvSpPr>
              <a:spLocks noEditPoints="1"/>
            </p:cNvSpPr>
            <p:nvPr/>
          </p:nvSpPr>
          <p:spPr bwMode="auto">
            <a:xfrm>
              <a:off x="3106" y="1857"/>
              <a:ext cx="222" cy="220"/>
            </a:xfrm>
            <a:custGeom>
              <a:avLst/>
              <a:gdLst>
                <a:gd name="T0" fmla="*/ 230 w 238"/>
                <a:gd name="T1" fmla="*/ 133 h 237"/>
                <a:gd name="T2" fmla="*/ 105 w 238"/>
                <a:gd name="T3" fmla="*/ 229 h 237"/>
                <a:gd name="T4" fmla="*/ 8 w 238"/>
                <a:gd name="T5" fmla="*/ 104 h 237"/>
                <a:gd name="T6" fmla="*/ 133 w 238"/>
                <a:gd name="T7" fmla="*/ 8 h 237"/>
                <a:gd name="T8" fmla="*/ 230 w 238"/>
                <a:gd name="T9" fmla="*/ 133 h 237"/>
                <a:gd name="T10" fmla="*/ 27 w 238"/>
                <a:gd name="T11" fmla="*/ 107 h 237"/>
                <a:gd name="T12" fmla="*/ 107 w 238"/>
                <a:gd name="T13" fmla="*/ 211 h 237"/>
                <a:gd name="T14" fmla="*/ 211 w 238"/>
                <a:gd name="T15" fmla="*/ 130 h 237"/>
                <a:gd name="T16" fmla="*/ 131 w 238"/>
                <a:gd name="T17" fmla="*/ 27 h 237"/>
                <a:gd name="T18" fmla="*/ 27 w 238"/>
                <a:gd name="T19" fmla="*/ 10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37">
                  <a:moveTo>
                    <a:pt x="230" y="133"/>
                  </a:moveTo>
                  <a:cubicBezTo>
                    <a:pt x="222" y="194"/>
                    <a:pt x="166" y="237"/>
                    <a:pt x="105" y="229"/>
                  </a:cubicBezTo>
                  <a:cubicBezTo>
                    <a:pt x="44" y="222"/>
                    <a:pt x="0" y="165"/>
                    <a:pt x="8" y="104"/>
                  </a:cubicBezTo>
                  <a:cubicBezTo>
                    <a:pt x="16" y="43"/>
                    <a:pt x="72" y="0"/>
                    <a:pt x="133" y="8"/>
                  </a:cubicBezTo>
                  <a:cubicBezTo>
                    <a:pt x="194" y="16"/>
                    <a:pt x="238" y="72"/>
                    <a:pt x="230" y="133"/>
                  </a:cubicBezTo>
                  <a:close/>
                  <a:moveTo>
                    <a:pt x="27" y="107"/>
                  </a:moveTo>
                  <a:cubicBezTo>
                    <a:pt x="20" y="157"/>
                    <a:pt x="56" y="204"/>
                    <a:pt x="107" y="211"/>
                  </a:cubicBezTo>
                  <a:cubicBezTo>
                    <a:pt x="158" y="217"/>
                    <a:pt x="204" y="181"/>
                    <a:pt x="211" y="130"/>
                  </a:cubicBezTo>
                  <a:cubicBezTo>
                    <a:pt x="217" y="80"/>
                    <a:pt x="181" y="33"/>
                    <a:pt x="131" y="27"/>
                  </a:cubicBezTo>
                  <a:cubicBezTo>
                    <a:pt x="80" y="20"/>
                    <a:pt x="34" y="56"/>
                    <a:pt x="27" y="107"/>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2" name="Freeform 92"/>
            <p:cNvSpPr>
              <a:spLocks/>
            </p:cNvSpPr>
            <p:nvPr/>
          </p:nvSpPr>
          <p:spPr bwMode="auto">
            <a:xfrm>
              <a:off x="3168" y="1918"/>
              <a:ext cx="94" cy="116"/>
            </a:xfrm>
            <a:custGeom>
              <a:avLst/>
              <a:gdLst>
                <a:gd name="T0" fmla="*/ 98 w 101"/>
                <a:gd name="T1" fmla="*/ 1 h 125"/>
                <a:gd name="T2" fmla="*/ 61 w 101"/>
                <a:gd name="T3" fmla="*/ 41 h 125"/>
                <a:gd name="T4" fmla="*/ 55 w 101"/>
                <a:gd name="T5" fmla="*/ 39 h 125"/>
                <a:gd name="T6" fmla="*/ 42 w 101"/>
                <a:gd name="T7" fmla="*/ 44 h 125"/>
                <a:gd name="T8" fmla="*/ 14 w 101"/>
                <a:gd name="T9" fmla="*/ 15 h 125"/>
                <a:gd name="T10" fmla="*/ 3 w 101"/>
                <a:gd name="T11" fmla="*/ 15 h 125"/>
                <a:gd name="T12" fmla="*/ 3 w 101"/>
                <a:gd name="T13" fmla="*/ 26 h 125"/>
                <a:gd name="T14" fmla="*/ 36 w 101"/>
                <a:gd name="T15" fmla="*/ 55 h 125"/>
                <a:gd name="T16" fmla="*/ 48 w 101"/>
                <a:gd name="T17" fmla="*/ 66 h 125"/>
                <a:gd name="T18" fmla="*/ 62 w 101"/>
                <a:gd name="T19" fmla="*/ 119 h 125"/>
                <a:gd name="T20" fmla="*/ 72 w 101"/>
                <a:gd name="T21" fmla="*/ 124 h 125"/>
                <a:gd name="T22" fmla="*/ 77 w 101"/>
                <a:gd name="T23" fmla="*/ 118 h 125"/>
                <a:gd name="T24" fmla="*/ 77 w 101"/>
                <a:gd name="T25" fmla="*/ 115 h 125"/>
                <a:gd name="T26" fmla="*/ 63 w 101"/>
                <a:gd name="T27" fmla="*/ 62 h 125"/>
                <a:gd name="T28" fmla="*/ 67 w 101"/>
                <a:gd name="T29" fmla="*/ 54 h 125"/>
                <a:gd name="T30" fmla="*/ 64 w 101"/>
                <a:gd name="T31" fmla="*/ 44 h 125"/>
                <a:gd name="T32" fmla="*/ 101 w 101"/>
                <a:gd name="T33" fmla="*/ 3 h 125"/>
                <a:gd name="T34" fmla="*/ 101 w 101"/>
                <a:gd name="T35" fmla="*/ 2 h 125"/>
                <a:gd name="T36" fmla="*/ 101 w 101"/>
                <a:gd name="T37" fmla="*/ 1 h 125"/>
                <a:gd name="T38" fmla="*/ 98 w 101"/>
                <a:gd name="T39" fmla="*/ 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25">
                  <a:moveTo>
                    <a:pt x="98" y="1"/>
                  </a:moveTo>
                  <a:cubicBezTo>
                    <a:pt x="61" y="41"/>
                    <a:pt x="61" y="41"/>
                    <a:pt x="61" y="41"/>
                  </a:cubicBezTo>
                  <a:cubicBezTo>
                    <a:pt x="59" y="40"/>
                    <a:pt x="57" y="39"/>
                    <a:pt x="55" y="39"/>
                  </a:cubicBezTo>
                  <a:cubicBezTo>
                    <a:pt x="50" y="38"/>
                    <a:pt x="45" y="40"/>
                    <a:pt x="42" y="44"/>
                  </a:cubicBezTo>
                  <a:cubicBezTo>
                    <a:pt x="14" y="15"/>
                    <a:pt x="14" y="15"/>
                    <a:pt x="14" y="15"/>
                  </a:cubicBezTo>
                  <a:cubicBezTo>
                    <a:pt x="11" y="12"/>
                    <a:pt x="6" y="12"/>
                    <a:pt x="3" y="15"/>
                  </a:cubicBezTo>
                  <a:cubicBezTo>
                    <a:pt x="0" y="18"/>
                    <a:pt x="0" y="23"/>
                    <a:pt x="3" y="26"/>
                  </a:cubicBezTo>
                  <a:cubicBezTo>
                    <a:pt x="36" y="55"/>
                    <a:pt x="36" y="55"/>
                    <a:pt x="36" y="55"/>
                  </a:cubicBezTo>
                  <a:cubicBezTo>
                    <a:pt x="37" y="58"/>
                    <a:pt x="45" y="64"/>
                    <a:pt x="48" y="66"/>
                  </a:cubicBezTo>
                  <a:cubicBezTo>
                    <a:pt x="62" y="119"/>
                    <a:pt x="62" y="119"/>
                    <a:pt x="62" y="119"/>
                  </a:cubicBezTo>
                  <a:cubicBezTo>
                    <a:pt x="63" y="123"/>
                    <a:pt x="68" y="125"/>
                    <a:pt x="72" y="124"/>
                  </a:cubicBezTo>
                  <a:cubicBezTo>
                    <a:pt x="75" y="123"/>
                    <a:pt x="77" y="121"/>
                    <a:pt x="77" y="118"/>
                  </a:cubicBezTo>
                  <a:cubicBezTo>
                    <a:pt x="77" y="117"/>
                    <a:pt x="77" y="116"/>
                    <a:pt x="77" y="115"/>
                  </a:cubicBezTo>
                  <a:cubicBezTo>
                    <a:pt x="63" y="62"/>
                    <a:pt x="63" y="62"/>
                    <a:pt x="63" y="62"/>
                  </a:cubicBezTo>
                  <a:cubicBezTo>
                    <a:pt x="65" y="60"/>
                    <a:pt x="66" y="58"/>
                    <a:pt x="67" y="54"/>
                  </a:cubicBezTo>
                  <a:cubicBezTo>
                    <a:pt x="67" y="50"/>
                    <a:pt x="66" y="46"/>
                    <a:pt x="64" y="44"/>
                  </a:cubicBezTo>
                  <a:cubicBezTo>
                    <a:pt x="101" y="3"/>
                    <a:pt x="101" y="3"/>
                    <a:pt x="101" y="3"/>
                  </a:cubicBezTo>
                  <a:cubicBezTo>
                    <a:pt x="101" y="3"/>
                    <a:pt x="101" y="3"/>
                    <a:pt x="101" y="2"/>
                  </a:cubicBezTo>
                  <a:cubicBezTo>
                    <a:pt x="101" y="2"/>
                    <a:pt x="101" y="1"/>
                    <a:pt x="101" y="1"/>
                  </a:cubicBezTo>
                  <a:cubicBezTo>
                    <a:pt x="100" y="0"/>
                    <a:pt x="99" y="0"/>
                    <a:pt x="98" y="1"/>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3" name="Freeform 93"/>
            <p:cNvSpPr>
              <a:spLocks noEditPoints="1"/>
            </p:cNvSpPr>
            <p:nvPr/>
          </p:nvSpPr>
          <p:spPr bwMode="auto">
            <a:xfrm>
              <a:off x="2860" y="1864"/>
              <a:ext cx="209" cy="206"/>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4" name="Freeform 94"/>
            <p:cNvSpPr>
              <a:spLocks noEditPoints="1"/>
            </p:cNvSpPr>
            <p:nvPr/>
          </p:nvSpPr>
          <p:spPr bwMode="auto">
            <a:xfrm>
              <a:off x="2607" y="1864"/>
              <a:ext cx="209" cy="206"/>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5" name="Freeform 95"/>
            <p:cNvSpPr>
              <a:spLocks/>
            </p:cNvSpPr>
            <p:nvPr/>
          </p:nvSpPr>
          <p:spPr bwMode="auto">
            <a:xfrm>
              <a:off x="2908" y="1905"/>
              <a:ext cx="70" cy="126"/>
            </a:xfrm>
            <a:custGeom>
              <a:avLst/>
              <a:gdLst>
                <a:gd name="T0" fmla="*/ 60 w 74"/>
                <a:gd name="T1" fmla="*/ 2 h 135"/>
                <a:gd name="T2" fmla="*/ 66 w 74"/>
                <a:gd name="T3" fmla="*/ 54 h 135"/>
                <a:gd name="T4" fmla="*/ 60 w 74"/>
                <a:gd name="T5" fmla="*/ 53 h 135"/>
                <a:gd name="T6" fmla="*/ 48 w 74"/>
                <a:gd name="T7" fmla="*/ 59 h 135"/>
                <a:gd name="T8" fmla="*/ 8 w 74"/>
                <a:gd name="T9" fmla="*/ 59 h 135"/>
                <a:gd name="T10" fmla="*/ 0 w 74"/>
                <a:gd name="T11" fmla="*/ 67 h 135"/>
                <a:gd name="T12" fmla="*/ 8 w 74"/>
                <a:gd name="T13" fmla="*/ 74 h 135"/>
                <a:gd name="T14" fmla="*/ 48 w 74"/>
                <a:gd name="T15" fmla="*/ 74 h 135"/>
                <a:gd name="T16" fmla="*/ 57 w 74"/>
                <a:gd name="T17" fmla="*/ 80 h 135"/>
                <a:gd name="T18" fmla="*/ 45 w 74"/>
                <a:gd name="T19" fmla="*/ 125 h 135"/>
                <a:gd name="T20" fmla="*/ 50 w 74"/>
                <a:gd name="T21" fmla="*/ 134 h 135"/>
                <a:gd name="T22" fmla="*/ 58 w 74"/>
                <a:gd name="T23" fmla="*/ 131 h 135"/>
                <a:gd name="T24" fmla="*/ 59 w 74"/>
                <a:gd name="T25" fmla="*/ 128 h 135"/>
                <a:gd name="T26" fmla="*/ 71 w 74"/>
                <a:gd name="T27" fmla="*/ 75 h 135"/>
                <a:gd name="T28" fmla="*/ 74 w 74"/>
                <a:gd name="T29" fmla="*/ 67 h 135"/>
                <a:gd name="T30" fmla="*/ 69 w 74"/>
                <a:gd name="T31" fmla="*/ 56 h 135"/>
                <a:gd name="T32" fmla="*/ 64 w 74"/>
                <a:gd name="T33" fmla="*/ 2 h 135"/>
                <a:gd name="T34" fmla="*/ 64 w 74"/>
                <a:gd name="T35" fmla="*/ 1 h 135"/>
                <a:gd name="T36" fmla="*/ 62 w 74"/>
                <a:gd name="T37" fmla="*/ 0 h 135"/>
                <a:gd name="T38" fmla="*/ 60 w 74"/>
                <a:gd name="T39" fmla="*/ 2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135">
                  <a:moveTo>
                    <a:pt x="60" y="2"/>
                  </a:moveTo>
                  <a:cubicBezTo>
                    <a:pt x="66" y="54"/>
                    <a:pt x="66" y="54"/>
                    <a:pt x="66" y="54"/>
                  </a:cubicBezTo>
                  <a:cubicBezTo>
                    <a:pt x="64" y="53"/>
                    <a:pt x="62" y="53"/>
                    <a:pt x="60" y="53"/>
                  </a:cubicBezTo>
                  <a:cubicBezTo>
                    <a:pt x="55" y="53"/>
                    <a:pt x="51" y="55"/>
                    <a:pt x="48" y="59"/>
                  </a:cubicBezTo>
                  <a:cubicBezTo>
                    <a:pt x="8" y="59"/>
                    <a:pt x="8" y="59"/>
                    <a:pt x="8" y="59"/>
                  </a:cubicBezTo>
                  <a:cubicBezTo>
                    <a:pt x="4" y="59"/>
                    <a:pt x="0" y="62"/>
                    <a:pt x="0" y="67"/>
                  </a:cubicBezTo>
                  <a:cubicBezTo>
                    <a:pt x="0" y="71"/>
                    <a:pt x="4" y="74"/>
                    <a:pt x="8" y="74"/>
                  </a:cubicBezTo>
                  <a:cubicBezTo>
                    <a:pt x="48" y="74"/>
                    <a:pt x="48" y="74"/>
                    <a:pt x="48" y="74"/>
                  </a:cubicBezTo>
                  <a:cubicBezTo>
                    <a:pt x="50" y="77"/>
                    <a:pt x="53" y="79"/>
                    <a:pt x="57" y="80"/>
                  </a:cubicBezTo>
                  <a:cubicBezTo>
                    <a:pt x="45" y="125"/>
                    <a:pt x="45" y="125"/>
                    <a:pt x="45" y="125"/>
                  </a:cubicBezTo>
                  <a:cubicBezTo>
                    <a:pt x="44" y="129"/>
                    <a:pt x="46" y="133"/>
                    <a:pt x="50" y="134"/>
                  </a:cubicBezTo>
                  <a:cubicBezTo>
                    <a:pt x="53" y="135"/>
                    <a:pt x="57" y="133"/>
                    <a:pt x="58" y="131"/>
                  </a:cubicBezTo>
                  <a:cubicBezTo>
                    <a:pt x="59" y="130"/>
                    <a:pt x="59" y="129"/>
                    <a:pt x="59" y="128"/>
                  </a:cubicBezTo>
                  <a:cubicBezTo>
                    <a:pt x="71" y="75"/>
                    <a:pt x="71" y="75"/>
                    <a:pt x="71" y="75"/>
                  </a:cubicBezTo>
                  <a:cubicBezTo>
                    <a:pt x="73" y="73"/>
                    <a:pt x="74" y="70"/>
                    <a:pt x="74" y="67"/>
                  </a:cubicBezTo>
                  <a:cubicBezTo>
                    <a:pt x="74" y="62"/>
                    <a:pt x="72" y="59"/>
                    <a:pt x="69" y="56"/>
                  </a:cubicBezTo>
                  <a:cubicBezTo>
                    <a:pt x="64" y="2"/>
                    <a:pt x="64" y="2"/>
                    <a:pt x="64" y="2"/>
                  </a:cubicBezTo>
                  <a:cubicBezTo>
                    <a:pt x="64" y="1"/>
                    <a:pt x="64" y="1"/>
                    <a:pt x="64" y="1"/>
                  </a:cubicBezTo>
                  <a:cubicBezTo>
                    <a:pt x="63" y="0"/>
                    <a:pt x="63" y="0"/>
                    <a:pt x="62" y="0"/>
                  </a:cubicBezTo>
                  <a:cubicBezTo>
                    <a:pt x="61" y="0"/>
                    <a:pt x="60" y="1"/>
                    <a:pt x="60" y="2"/>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6" name="Freeform 96"/>
            <p:cNvSpPr>
              <a:spLocks/>
            </p:cNvSpPr>
            <p:nvPr/>
          </p:nvSpPr>
          <p:spPr bwMode="auto">
            <a:xfrm>
              <a:off x="1926" y="2905"/>
              <a:ext cx="1400" cy="49"/>
            </a:xfrm>
            <a:custGeom>
              <a:avLst/>
              <a:gdLst>
                <a:gd name="T0" fmla="*/ 1476 w 1502"/>
                <a:gd name="T1" fmla="*/ 52 h 52"/>
                <a:gd name="T2" fmla="*/ 26 w 1502"/>
                <a:gd name="T3" fmla="*/ 52 h 52"/>
                <a:gd name="T4" fmla="*/ 0 w 1502"/>
                <a:gd name="T5" fmla="*/ 26 h 52"/>
                <a:gd name="T6" fmla="*/ 26 w 1502"/>
                <a:gd name="T7" fmla="*/ 0 h 52"/>
                <a:gd name="T8" fmla="*/ 1476 w 1502"/>
                <a:gd name="T9" fmla="*/ 0 h 52"/>
                <a:gd name="T10" fmla="*/ 1502 w 1502"/>
                <a:gd name="T11" fmla="*/ 26 h 52"/>
                <a:gd name="T12" fmla="*/ 1476 w 150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02" h="52">
                  <a:moveTo>
                    <a:pt x="1476" y="52"/>
                  </a:moveTo>
                  <a:cubicBezTo>
                    <a:pt x="26" y="52"/>
                    <a:pt x="26" y="52"/>
                    <a:pt x="26" y="52"/>
                  </a:cubicBezTo>
                  <a:cubicBezTo>
                    <a:pt x="12" y="52"/>
                    <a:pt x="0" y="40"/>
                    <a:pt x="0" y="26"/>
                  </a:cubicBezTo>
                  <a:cubicBezTo>
                    <a:pt x="0" y="11"/>
                    <a:pt x="12" y="0"/>
                    <a:pt x="26" y="0"/>
                  </a:cubicBezTo>
                  <a:cubicBezTo>
                    <a:pt x="1476" y="0"/>
                    <a:pt x="1476" y="0"/>
                    <a:pt x="1476" y="0"/>
                  </a:cubicBezTo>
                  <a:cubicBezTo>
                    <a:pt x="1490" y="0"/>
                    <a:pt x="1502" y="11"/>
                    <a:pt x="1502" y="26"/>
                  </a:cubicBezTo>
                  <a:cubicBezTo>
                    <a:pt x="1502" y="40"/>
                    <a:pt x="1490" y="52"/>
                    <a:pt x="1476" y="52"/>
                  </a:cubicBez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7" name="Freeform 97"/>
            <p:cNvSpPr>
              <a:spLocks/>
            </p:cNvSpPr>
            <p:nvPr/>
          </p:nvSpPr>
          <p:spPr bwMode="auto">
            <a:xfrm>
              <a:off x="1156" y="2792"/>
              <a:ext cx="772" cy="48"/>
            </a:xfrm>
            <a:custGeom>
              <a:avLst/>
              <a:gdLst>
                <a:gd name="T0" fmla="*/ 801 w 828"/>
                <a:gd name="T1" fmla="*/ 52 h 52"/>
                <a:gd name="T2" fmla="*/ 26 w 828"/>
                <a:gd name="T3" fmla="*/ 52 h 52"/>
                <a:gd name="T4" fmla="*/ 0 w 828"/>
                <a:gd name="T5" fmla="*/ 26 h 52"/>
                <a:gd name="T6" fmla="*/ 26 w 828"/>
                <a:gd name="T7" fmla="*/ 0 h 52"/>
                <a:gd name="T8" fmla="*/ 801 w 828"/>
                <a:gd name="T9" fmla="*/ 0 h 52"/>
                <a:gd name="T10" fmla="*/ 828 w 828"/>
                <a:gd name="T11" fmla="*/ 26 h 52"/>
                <a:gd name="T12" fmla="*/ 801 w 8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828" h="52">
                  <a:moveTo>
                    <a:pt x="801" y="52"/>
                  </a:moveTo>
                  <a:cubicBezTo>
                    <a:pt x="26" y="52"/>
                    <a:pt x="26" y="52"/>
                    <a:pt x="26" y="52"/>
                  </a:cubicBezTo>
                  <a:cubicBezTo>
                    <a:pt x="11" y="52"/>
                    <a:pt x="0" y="41"/>
                    <a:pt x="0" y="26"/>
                  </a:cubicBezTo>
                  <a:cubicBezTo>
                    <a:pt x="0" y="12"/>
                    <a:pt x="11" y="0"/>
                    <a:pt x="26" y="0"/>
                  </a:cubicBezTo>
                  <a:cubicBezTo>
                    <a:pt x="801" y="0"/>
                    <a:pt x="801" y="0"/>
                    <a:pt x="801" y="0"/>
                  </a:cubicBezTo>
                  <a:cubicBezTo>
                    <a:pt x="816" y="0"/>
                    <a:pt x="828" y="12"/>
                    <a:pt x="828" y="26"/>
                  </a:cubicBezTo>
                  <a:cubicBezTo>
                    <a:pt x="828" y="41"/>
                    <a:pt x="816" y="52"/>
                    <a:pt x="801" y="52"/>
                  </a:cubicBez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8" name="Freeform 98"/>
            <p:cNvSpPr>
              <a:spLocks/>
            </p:cNvSpPr>
            <p:nvPr/>
          </p:nvSpPr>
          <p:spPr bwMode="auto">
            <a:xfrm>
              <a:off x="1764" y="2249"/>
              <a:ext cx="17" cy="46"/>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9" name="Freeform 99"/>
            <p:cNvSpPr>
              <a:spLocks/>
            </p:cNvSpPr>
            <p:nvPr/>
          </p:nvSpPr>
          <p:spPr bwMode="auto">
            <a:xfrm>
              <a:off x="1756" y="2339"/>
              <a:ext cx="17" cy="4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0" name="Freeform 100"/>
            <p:cNvSpPr>
              <a:spLocks/>
            </p:cNvSpPr>
            <p:nvPr/>
          </p:nvSpPr>
          <p:spPr bwMode="auto">
            <a:xfrm>
              <a:off x="1831" y="2326"/>
              <a:ext cx="17" cy="4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1" name="Freeform 101"/>
            <p:cNvSpPr>
              <a:spLocks noEditPoints="1"/>
            </p:cNvSpPr>
            <p:nvPr/>
          </p:nvSpPr>
          <p:spPr bwMode="auto">
            <a:xfrm>
              <a:off x="1786" y="2298"/>
              <a:ext cx="30" cy="46"/>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2" name="Freeform 102"/>
            <p:cNvSpPr>
              <a:spLocks noEditPoints="1"/>
            </p:cNvSpPr>
            <p:nvPr/>
          </p:nvSpPr>
          <p:spPr bwMode="auto">
            <a:xfrm>
              <a:off x="1799" y="236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3" name="Freeform 103"/>
            <p:cNvSpPr>
              <a:spLocks noEditPoints="1"/>
            </p:cNvSpPr>
            <p:nvPr/>
          </p:nvSpPr>
          <p:spPr bwMode="auto">
            <a:xfrm>
              <a:off x="1719" y="2303"/>
              <a:ext cx="31" cy="4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4" name="Freeform 104"/>
            <p:cNvSpPr>
              <a:spLocks noEditPoints="1"/>
            </p:cNvSpPr>
            <p:nvPr/>
          </p:nvSpPr>
          <p:spPr bwMode="auto">
            <a:xfrm>
              <a:off x="1859" y="229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5" name="Freeform 105"/>
            <p:cNvSpPr>
              <a:spLocks/>
            </p:cNvSpPr>
            <p:nvPr/>
          </p:nvSpPr>
          <p:spPr bwMode="auto">
            <a:xfrm>
              <a:off x="1764" y="2249"/>
              <a:ext cx="17" cy="46"/>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6" name="Freeform 106"/>
            <p:cNvSpPr>
              <a:spLocks/>
            </p:cNvSpPr>
            <p:nvPr/>
          </p:nvSpPr>
          <p:spPr bwMode="auto">
            <a:xfrm>
              <a:off x="1756" y="2339"/>
              <a:ext cx="17" cy="4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7" name="Freeform 107"/>
            <p:cNvSpPr>
              <a:spLocks/>
            </p:cNvSpPr>
            <p:nvPr/>
          </p:nvSpPr>
          <p:spPr bwMode="auto">
            <a:xfrm>
              <a:off x="1831" y="2326"/>
              <a:ext cx="17" cy="4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8" name="Freeform 108"/>
            <p:cNvSpPr>
              <a:spLocks noEditPoints="1"/>
            </p:cNvSpPr>
            <p:nvPr/>
          </p:nvSpPr>
          <p:spPr bwMode="auto">
            <a:xfrm>
              <a:off x="1786" y="2298"/>
              <a:ext cx="30" cy="46"/>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9" name="Freeform 109"/>
            <p:cNvSpPr>
              <a:spLocks noEditPoints="1"/>
            </p:cNvSpPr>
            <p:nvPr/>
          </p:nvSpPr>
          <p:spPr bwMode="auto">
            <a:xfrm>
              <a:off x="1799" y="236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0" name="Freeform 110"/>
            <p:cNvSpPr>
              <a:spLocks noEditPoints="1"/>
            </p:cNvSpPr>
            <p:nvPr/>
          </p:nvSpPr>
          <p:spPr bwMode="auto">
            <a:xfrm>
              <a:off x="1719" y="2303"/>
              <a:ext cx="31" cy="4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1" name="Freeform 111"/>
            <p:cNvSpPr>
              <a:spLocks noEditPoints="1"/>
            </p:cNvSpPr>
            <p:nvPr/>
          </p:nvSpPr>
          <p:spPr bwMode="auto">
            <a:xfrm>
              <a:off x="1859" y="229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2" name="Freeform 112"/>
            <p:cNvSpPr>
              <a:spLocks/>
            </p:cNvSpPr>
            <p:nvPr/>
          </p:nvSpPr>
          <p:spPr bwMode="auto">
            <a:xfrm>
              <a:off x="1620" y="2158"/>
              <a:ext cx="349" cy="98"/>
            </a:xfrm>
            <a:custGeom>
              <a:avLst/>
              <a:gdLst>
                <a:gd name="T0" fmla="*/ 336 w 375"/>
                <a:gd name="T1" fmla="*/ 0 h 106"/>
                <a:gd name="T2" fmla="*/ 340 w 375"/>
                <a:gd name="T3" fmla="*/ 30 h 106"/>
                <a:gd name="T4" fmla="*/ 309 w 375"/>
                <a:gd name="T5" fmla="*/ 71 h 106"/>
                <a:gd name="T6" fmla="*/ 278 w 375"/>
                <a:gd name="T7" fmla="*/ 76 h 106"/>
                <a:gd name="T8" fmla="*/ 17 w 375"/>
                <a:gd name="T9" fmla="*/ 37 h 106"/>
                <a:gd name="T10" fmla="*/ 0 w 375"/>
                <a:gd name="T11" fmla="*/ 32 h 106"/>
                <a:gd name="T12" fmla="*/ 49 w 375"/>
                <a:gd name="T13" fmla="*/ 66 h 106"/>
                <a:gd name="T14" fmla="*/ 310 w 375"/>
                <a:gd name="T15" fmla="*/ 105 h 106"/>
                <a:gd name="T16" fmla="*/ 340 w 375"/>
                <a:gd name="T17" fmla="*/ 100 h 106"/>
                <a:gd name="T18" fmla="*/ 371 w 375"/>
                <a:gd name="T19" fmla="*/ 59 h 106"/>
                <a:gd name="T20" fmla="*/ 336 w 375"/>
                <a:gd name="T2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 h="106">
                  <a:moveTo>
                    <a:pt x="336" y="0"/>
                  </a:moveTo>
                  <a:cubicBezTo>
                    <a:pt x="340" y="9"/>
                    <a:pt x="341" y="20"/>
                    <a:pt x="340" y="30"/>
                  </a:cubicBezTo>
                  <a:cubicBezTo>
                    <a:pt x="337" y="49"/>
                    <a:pt x="325" y="64"/>
                    <a:pt x="309" y="71"/>
                  </a:cubicBezTo>
                  <a:cubicBezTo>
                    <a:pt x="300" y="76"/>
                    <a:pt x="289" y="77"/>
                    <a:pt x="278" y="76"/>
                  </a:cubicBezTo>
                  <a:cubicBezTo>
                    <a:pt x="17" y="37"/>
                    <a:pt x="17" y="37"/>
                    <a:pt x="17" y="37"/>
                  </a:cubicBezTo>
                  <a:cubicBezTo>
                    <a:pt x="11" y="36"/>
                    <a:pt x="5" y="34"/>
                    <a:pt x="0" y="32"/>
                  </a:cubicBezTo>
                  <a:cubicBezTo>
                    <a:pt x="10" y="50"/>
                    <a:pt x="28" y="63"/>
                    <a:pt x="49" y="66"/>
                  </a:cubicBezTo>
                  <a:cubicBezTo>
                    <a:pt x="310" y="105"/>
                    <a:pt x="310" y="105"/>
                    <a:pt x="310" y="105"/>
                  </a:cubicBezTo>
                  <a:cubicBezTo>
                    <a:pt x="321" y="106"/>
                    <a:pt x="331" y="105"/>
                    <a:pt x="340" y="100"/>
                  </a:cubicBezTo>
                  <a:cubicBezTo>
                    <a:pt x="357" y="93"/>
                    <a:pt x="369" y="78"/>
                    <a:pt x="371" y="59"/>
                  </a:cubicBezTo>
                  <a:cubicBezTo>
                    <a:pt x="375" y="33"/>
                    <a:pt x="360" y="9"/>
                    <a:pt x="336"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3" name="Freeform 113"/>
            <p:cNvSpPr>
              <a:spLocks/>
            </p:cNvSpPr>
            <p:nvPr/>
          </p:nvSpPr>
          <p:spPr bwMode="auto">
            <a:xfrm>
              <a:off x="2969" y="2677"/>
              <a:ext cx="174" cy="346"/>
            </a:xfrm>
            <a:custGeom>
              <a:avLst/>
              <a:gdLst>
                <a:gd name="T0" fmla="*/ 103 w 187"/>
                <a:gd name="T1" fmla="*/ 0 h 373"/>
                <a:gd name="T2" fmla="*/ 0 w 187"/>
                <a:gd name="T3" fmla="*/ 33 h 373"/>
                <a:gd name="T4" fmla="*/ 75 w 187"/>
                <a:gd name="T5" fmla="*/ 331 h 373"/>
                <a:gd name="T6" fmla="*/ 112 w 187"/>
                <a:gd name="T7" fmla="*/ 370 h 373"/>
                <a:gd name="T8" fmla="*/ 141 w 187"/>
                <a:gd name="T9" fmla="*/ 370 h 373"/>
                <a:gd name="T10" fmla="*/ 180 w 187"/>
                <a:gd name="T11" fmla="*/ 305 h 373"/>
                <a:gd name="T12" fmla="*/ 103 w 187"/>
                <a:gd name="T13" fmla="*/ 0 h 373"/>
              </a:gdLst>
              <a:ahLst/>
              <a:cxnLst>
                <a:cxn ang="0">
                  <a:pos x="T0" y="T1"/>
                </a:cxn>
                <a:cxn ang="0">
                  <a:pos x="T2" y="T3"/>
                </a:cxn>
                <a:cxn ang="0">
                  <a:pos x="T4" y="T5"/>
                </a:cxn>
                <a:cxn ang="0">
                  <a:pos x="T6" y="T7"/>
                </a:cxn>
                <a:cxn ang="0">
                  <a:pos x="T8" y="T9"/>
                </a:cxn>
                <a:cxn ang="0">
                  <a:pos x="T10" y="T11"/>
                </a:cxn>
                <a:cxn ang="0">
                  <a:pos x="T12" y="T13"/>
                </a:cxn>
              </a:cxnLst>
              <a:rect l="0" t="0" r="r" b="b"/>
              <a:pathLst>
                <a:path w="187" h="373">
                  <a:moveTo>
                    <a:pt x="103" y="0"/>
                  </a:moveTo>
                  <a:cubicBezTo>
                    <a:pt x="71" y="17"/>
                    <a:pt x="37" y="28"/>
                    <a:pt x="0" y="33"/>
                  </a:cubicBezTo>
                  <a:cubicBezTo>
                    <a:pt x="75" y="331"/>
                    <a:pt x="75" y="331"/>
                    <a:pt x="75" y="331"/>
                  </a:cubicBezTo>
                  <a:cubicBezTo>
                    <a:pt x="80" y="350"/>
                    <a:pt x="94" y="364"/>
                    <a:pt x="112" y="370"/>
                  </a:cubicBezTo>
                  <a:cubicBezTo>
                    <a:pt x="121" y="373"/>
                    <a:pt x="131" y="373"/>
                    <a:pt x="141" y="370"/>
                  </a:cubicBezTo>
                  <a:cubicBezTo>
                    <a:pt x="170" y="363"/>
                    <a:pt x="187" y="334"/>
                    <a:pt x="180" y="305"/>
                  </a:cubicBezTo>
                  <a:lnTo>
                    <a:pt x="103"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4" name="Freeform 114"/>
            <p:cNvSpPr>
              <a:spLocks/>
            </p:cNvSpPr>
            <p:nvPr/>
          </p:nvSpPr>
          <p:spPr bwMode="auto">
            <a:xfrm>
              <a:off x="2967" y="2671"/>
              <a:ext cx="107" cy="68"/>
            </a:xfrm>
            <a:custGeom>
              <a:avLst/>
              <a:gdLst>
                <a:gd name="T0" fmla="*/ 55 w 114"/>
                <a:gd name="T1" fmla="*/ 21 h 74"/>
                <a:gd name="T2" fmla="*/ 0 w 114"/>
                <a:gd name="T3" fmla="*/ 32 h 74"/>
                <a:gd name="T4" fmla="*/ 10 w 114"/>
                <a:gd name="T5" fmla="*/ 74 h 74"/>
                <a:gd name="T6" fmla="*/ 114 w 114"/>
                <a:gd name="T7" fmla="*/ 42 h 74"/>
                <a:gd name="T8" fmla="*/ 103 w 114"/>
                <a:gd name="T9" fmla="*/ 0 h 74"/>
                <a:gd name="T10" fmla="*/ 55 w 114"/>
                <a:gd name="T11" fmla="*/ 21 h 74"/>
              </a:gdLst>
              <a:ahLst/>
              <a:cxnLst>
                <a:cxn ang="0">
                  <a:pos x="T0" y="T1"/>
                </a:cxn>
                <a:cxn ang="0">
                  <a:pos x="T2" y="T3"/>
                </a:cxn>
                <a:cxn ang="0">
                  <a:pos x="T4" y="T5"/>
                </a:cxn>
                <a:cxn ang="0">
                  <a:pos x="T6" y="T7"/>
                </a:cxn>
                <a:cxn ang="0">
                  <a:pos x="T8" y="T9"/>
                </a:cxn>
                <a:cxn ang="0">
                  <a:pos x="T10" y="T11"/>
                </a:cxn>
              </a:cxnLst>
              <a:rect l="0" t="0" r="r" b="b"/>
              <a:pathLst>
                <a:path w="114" h="74">
                  <a:moveTo>
                    <a:pt x="55" y="21"/>
                  </a:moveTo>
                  <a:cubicBezTo>
                    <a:pt x="37" y="27"/>
                    <a:pt x="18" y="30"/>
                    <a:pt x="0" y="32"/>
                  </a:cubicBezTo>
                  <a:cubicBezTo>
                    <a:pt x="10" y="74"/>
                    <a:pt x="10" y="74"/>
                    <a:pt x="10" y="74"/>
                  </a:cubicBezTo>
                  <a:cubicBezTo>
                    <a:pt x="47" y="70"/>
                    <a:pt x="82" y="59"/>
                    <a:pt x="114" y="42"/>
                  </a:cubicBezTo>
                  <a:cubicBezTo>
                    <a:pt x="103" y="0"/>
                    <a:pt x="103" y="0"/>
                    <a:pt x="103" y="0"/>
                  </a:cubicBezTo>
                  <a:cubicBezTo>
                    <a:pt x="88" y="8"/>
                    <a:pt x="72" y="15"/>
                    <a:pt x="55" y="21"/>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5" name="Freeform 115"/>
            <p:cNvSpPr>
              <a:spLocks/>
            </p:cNvSpPr>
            <p:nvPr/>
          </p:nvSpPr>
          <p:spPr bwMode="auto">
            <a:xfrm>
              <a:off x="2916" y="2715"/>
              <a:ext cx="587" cy="708"/>
            </a:xfrm>
            <a:custGeom>
              <a:avLst/>
              <a:gdLst>
                <a:gd name="T0" fmla="*/ 21 w 629"/>
                <a:gd name="T1" fmla="*/ 183 h 763"/>
                <a:gd name="T2" fmla="*/ 21 w 629"/>
                <a:gd name="T3" fmla="*/ 184 h 763"/>
                <a:gd name="T4" fmla="*/ 8 w 629"/>
                <a:gd name="T5" fmla="*/ 198 h 763"/>
                <a:gd name="T6" fmla="*/ 20 w 629"/>
                <a:gd name="T7" fmla="*/ 241 h 763"/>
                <a:gd name="T8" fmla="*/ 5 w 629"/>
                <a:gd name="T9" fmla="*/ 265 h 763"/>
                <a:gd name="T10" fmla="*/ 25 w 629"/>
                <a:gd name="T11" fmla="*/ 299 h 763"/>
                <a:gd name="T12" fmla="*/ 92 w 629"/>
                <a:gd name="T13" fmla="*/ 331 h 763"/>
                <a:gd name="T14" fmla="*/ 424 w 629"/>
                <a:gd name="T15" fmla="*/ 763 h 763"/>
                <a:gd name="T16" fmla="*/ 629 w 629"/>
                <a:gd name="T17" fmla="*/ 763 h 763"/>
                <a:gd name="T18" fmla="*/ 411 w 629"/>
                <a:gd name="T19" fmla="*/ 431 h 763"/>
                <a:gd name="T20" fmla="*/ 295 w 629"/>
                <a:gd name="T21" fmla="*/ 279 h 763"/>
                <a:gd name="T22" fmla="*/ 295 w 629"/>
                <a:gd name="T23" fmla="*/ 279 h 763"/>
                <a:gd name="T24" fmla="*/ 304 w 629"/>
                <a:gd name="T25" fmla="*/ 155 h 763"/>
                <a:gd name="T26" fmla="*/ 193 w 629"/>
                <a:gd name="T27" fmla="*/ 0 h 763"/>
                <a:gd name="T28" fmla="*/ 157 w 629"/>
                <a:gd name="T29" fmla="*/ 57 h 763"/>
                <a:gd name="T30" fmla="*/ 160 w 629"/>
                <a:gd name="T31" fmla="*/ 65 h 763"/>
                <a:gd name="T32" fmla="*/ 204 w 629"/>
                <a:gd name="T33" fmla="*/ 134 h 763"/>
                <a:gd name="T34" fmla="*/ 128 w 629"/>
                <a:gd name="T35" fmla="*/ 107 h 763"/>
                <a:gd name="T36" fmla="*/ 82 w 629"/>
                <a:gd name="T37" fmla="*/ 85 h 763"/>
                <a:gd name="T38" fmla="*/ 38 w 629"/>
                <a:gd name="T39" fmla="*/ 100 h 763"/>
                <a:gd name="T40" fmla="*/ 35 w 629"/>
                <a:gd name="T41" fmla="*/ 121 h 763"/>
                <a:gd name="T42" fmla="*/ 2 w 629"/>
                <a:gd name="T43" fmla="*/ 154 h 763"/>
                <a:gd name="T44" fmla="*/ 21 w 629"/>
                <a:gd name="T45" fmla="*/ 183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9" h="763">
                  <a:moveTo>
                    <a:pt x="21" y="183"/>
                  </a:moveTo>
                  <a:cubicBezTo>
                    <a:pt x="21" y="184"/>
                    <a:pt x="21" y="184"/>
                    <a:pt x="21" y="184"/>
                  </a:cubicBezTo>
                  <a:cubicBezTo>
                    <a:pt x="16" y="187"/>
                    <a:pt x="11" y="192"/>
                    <a:pt x="8" y="198"/>
                  </a:cubicBezTo>
                  <a:cubicBezTo>
                    <a:pt x="0" y="213"/>
                    <a:pt x="6" y="232"/>
                    <a:pt x="20" y="241"/>
                  </a:cubicBezTo>
                  <a:cubicBezTo>
                    <a:pt x="12" y="246"/>
                    <a:pt x="6" y="253"/>
                    <a:pt x="5" y="265"/>
                  </a:cubicBezTo>
                  <a:cubicBezTo>
                    <a:pt x="3" y="279"/>
                    <a:pt x="12" y="292"/>
                    <a:pt x="25" y="299"/>
                  </a:cubicBezTo>
                  <a:cubicBezTo>
                    <a:pt x="92" y="331"/>
                    <a:pt x="92" y="331"/>
                    <a:pt x="92" y="331"/>
                  </a:cubicBezTo>
                  <a:cubicBezTo>
                    <a:pt x="424" y="763"/>
                    <a:pt x="424" y="763"/>
                    <a:pt x="424" y="763"/>
                  </a:cubicBezTo>
                  <a:cubicBezTo>
                    <a:pt x="629" y="763"/>
                    <a:pt x="629" y="763"/>
                    <a:pt x="629" y="763"/>
                  </a:cubicBezTo>
                  <a:cubicBezTo>
                    <a:pt x="411" y="431"/>
                    <a:pt x="411" y="431"/>
                    <a:pt x="411" y="431"/>
                  </a:cubicBezTo>
                  <a:cubicBezTo>
                    <a:pt x="295" y="279"/>
                    <a:pt x="295" y="279"/>
                    <a:pt x="295" y="279"/>
                  </a:cubicBezTo>
                  <a:cubicBezTo>
                    <a:pt x="295" y="279"/>
                    <a:pt x="295" y="279"/>
                    <a:pt x="295" y="279"/>
                  </a:cubicBezTo>
                  <a:cubicBezTo>
                    <a:pt x="310" y="256"/>
                    <a:pt x="324" y="202"/>
                    <a:pt x="304" y="155"/>
                  </a:cubicBezTo>
                  <a:cubicBezTo>
                    <a:pt x="283" y="109"/>
                    <a:pt x="271" y="127"/>
                    <a:pt x="193" y="0"/>
                  </a:cubicBezTo>
                  <a:cubicBezTo>
                    <a:pt x="154" y="3"/>
                    <a:pt x="156" y="43"/>
                    <a:pt x="157" y="57"/>
                  </a:cubicBezTo>
                  <a:cubicBezTo>
                    <a:pt x="157" y="60"/>
                    <a:pt x="158" y="63"/>
                    <a:pt x="160" y="65"/>
                  </a:cubicBezTo>
                  <a:cubicBezTo>
                    <a:pt x="204" y="134"/>
                    <a:pt x="204" y="134"/>
                    <a:pt x="204" y="134"/>
                  </a:cubicBezTo>
                  <a:cubicBezTo>
                    <a:pt x="128" y="107"/>
                    <a:pt x="128" y="107"/>
                    <a:pt x="128" y="107"/>
                  </a:cubicBezTo>
                  <a:cubicBezTo>
                    <a:pt x="82" y="85"/>
                    <a:pt x="82" y="85"/>
                    <a:pt x="82" y="85"/>
                  </a:cubicBezTo>
                  <a:cubicBezTo>
                    <a:pt x="66" y="77"/>
                    <a:pt x="46" y="84"/>
                    <a:pt x="38" y="100"/>
                  </a:cubicBezTo>
                  <a:cubicBezTo>
                    <a:pt x="34" y="107"/>
                    <a:pt x="34" y="114"/>
                    <a:pt x="35" y="121"/>
                  </a:cubicBezTo>
                  <a:cubicBezTo>
                    <a:pt x="18" y="121"/>
                    <a:pt x="3" y="133"/>
                    <a:pt x="2" y="154"/>
                  </a:cubicBezTo>
                  <a:cubicBezTo>
                    <a:pt x="2" y="167"/>
                    <a:pt x="10" y="178"/>
                    <a:pt x="21" y="183"/>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6" name="Freeform 116"/>
            <p:cNvSpPr>
              <a:spLocks/>
            </p:cNvSpPr>
            <p:nvPr/>
          </p:nvSpPr>
          <p:spPr bwMode="auto">
            <a:xfrm>
              <a:off x="3045" y="3000"/>
              <a:ext cx="519" cy="423"/>
            </a:xfrm>
            <a:custGeom>
              <a:avLst/>
              <a:gdLst>
                <a:gd name="T0" fmla="*/ 263 w 557"/>
                <a:gd name="T1" fmla="*/ 456 h 456"/>
                <a:gd name="T2" fmla="*/ 557 w 557"/>
                <a:gd name="T3" fmla="*/ 456 h 456"/>
                <a:gd name="T4" fmla="*/ 204 w 557"/>
                <a:gd name="T5" fmla="*/ 1 h 456"/>
                <a:gd name="T6" fmla="*/ 0 w 557"/>
                <a:gd name="T7" fmla="*/ 118 h 456"/>
                <a:gd name="T8" fmla="*/ 263 w 557"/>
                <a:gd name="T9" fmla="*/ 456 h 456"/>
              </a:gdLst>
              <a:ahLst/>
              <a:cxnLst>
                <a:cxn ang="0">
                  <a:pos x="T0" y="T1"/>
                </a:cxn>
                <a:cxn ang="0">
                  <a:pos x="T2" y="T3"/>
                </a:cxn>
                <a:cxn ang="0">
                  <a:pos x="T4" y="T5"/>
                </a:cxn>
                <a:cxn ang="0">
                  <a:pos x="T6" y="T7"/>
                </a:cxn>
                <a:cxn ang="0">
                  <a:pos x="T8" y="T9"/>
                </a:cxn>
              </a:cxnLst>
              <a:rect l="0" t="0" r="r" b="b"/>
              <a:pathLst>
                <a:path w="557" h="456">
                  <a:moveTo>
                    <a:pt x="263" y="456"/>
                  </a:moveTo>
                  <a:cubicBezTo>
                    <a:pt x="557" y="456"/>
                    <a:pt x="557" y="456"/>
                    <a:pt x="557" y="456"/>
                  </a:cubicBezTo>
                  <a:cubicBezTo>
                    <a:pt x="204" y="1"/>
                    <a:pt x="204" y="1"/>
                    <a:pt x="204" y="1"/>
                  </a:cubicBezTo>
                  <a:cubicBezTo>
                    <a:pt x="204" y="0"/>
                    <a:pt x="0" y="118"/>
                    <a:pt x="0" y="118"/>
                  </a:cubicBezTo>
                  <a:lnTo>
                    <a:pt x="263" y="45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7" name="Freeform 117"/>
            <p:cNvSpPr>
              <a:spLocks/>
            </p:cNvSpPr>
            <p:nvPr/>
          </p:nvSpPr>
          <p:spPr bwMode="auto">
            <a:xfrm>
              <a:off x="2668" y="2185"/>
              <a:ext cx="548" cy="545"/>
            </a:xfrm>
            <a:custGeom>
              <a:avLst/>
              <a:gdLst>
                <a:gd name="T0" fmla="*/ 544 w 588"/>
                <a:gd name="T1" fmla="*/ 213 h 588"/>
                <a:gd name="T2" fmla="*/ 375 w 588"/>
                <a:gd name="T3" fmla="*/ 544 h 588"/>
                <a:gd name="T4" fmla="*/ 45 w 588"/>
                <a:gd name="T5" fmla="*/ 375 h 588"/>
                <a:gd name="T6" fmla="*/ 213 w 588"/>
                <a:gd name="T7" fmla="*/ 45 h 588"/>
                <a:gd name="T8" fmla="*/ 544 w 588"/>
                <a:gd name="T9" fmla="*/ 213 h 588"/>
              </a:gdLst>
              <a:ahLst/>
              <a:cxnLst>
                <a:cxn ang="0">
                  <a:pos x="T0" y="T1"/>
                </a:cxn>
                <a:cxn ang="0">
                  <a:pos x="T2" y="T3"/>
                </a:cxn>
                <a:cxn ang="0">
                  <a:pos x="T4" y="T5"/>
                </a:cxn>
                <a:cxn ang="0">
                  <a:pos x="T6" y="T7"/>
                </a:cxn>
                <a:cxn ang="0">
                  <a:pos x="T8" y="T9"/>
                </a:cxn>
              </a:cxnLst>
              <a:rect l="0" t="0" r="r" b="b"/>
              <a:pathLst>
                <a:path w="588" h="588">
                  <a:moveTo>
                    <a:pt x="544" y="213"/>
                  </a:moveTo>
                  <a:cubicBezTo>
                    <a:pt x="588" y="351"/>
                    <a:pt x="513" y="499"/>
                    <a:pt x="375" y="544"/>
                  </a:cubicBezTo>
                  <a:cubicBezTo>
                    <a:pt x="238" y="588"/>
                    <a:pt x="90" y="513"/>
                    <a:pt x="45" y="375"/>
                  </a:cubicBezTo>
                  <a:cubicBezTo>
                    <a:pt x="0" y="238"/>
                    <a:pt x="75" y="90"/>
                    <a:pt x="213" y="45"/>
                  </a:cubicBezTo>
                  <a:cubicBezTo>
                    <a:pt x="351" y="0"/>
                    <a:pt x="499" y="75"/>
                    <a:pt x="544" y="213"/>
                  </a:cubicBezTo>
                  <a:close/>
                </a:path>
              </a:pathLst>
            </a:custGeom>
            <a:solidFill>
              <a:srgbClr val="D2D2D2"/>
            </a:solidFill>
            <a:ln w="19050" cap="flat">
              <a:solidFill>
                <a:srgbClr val="409AE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8" name="Freeform 118"/>
            <p:cNvSpPr>
              <a:spLocks/>
            </p:cNvSpPr>
            <p:nvPr/>
          </p:nvSpPr>
          <p:spPr bwMode="auto">
            <a:xfrm>
              <a:off x="2747" y="2314"/>
              <a:ext cx="208" cy="204"/>
            </a:xfrm>
            <a:custGeom>
              <a:avLst/>
              <a:gdLst>
                <a:gd name="T0" fmla="*/ 43 w 223"/>
                <a:gd name="T1" fmla="*/ 188 h 220"/>
                <a:gd name="T2" fmla="*/ 51 w 223"/>
                <a:gd name="T3" fmla="*/ 195 h 220"/>
                <a:gd name="T4" fmla="*/ 113 w 223"/>
                <a:gd name="T5" fmla="*/ 218 h 220"/>
                <a:gd name="T6" fmla="*/ 222 w 223"/>
                <a:gd name="T7" fmla="*/ 116 h 220"/>
                <a:gd name="T8" fmla="*/ 209 w 223"/>
                <a:gd name="T9" fmla="*/ 61 h 220"/>
                <a:gd name="T10" fmla="*/ 168 w 223"/>
                <a:gd name="T11" fmla="*/ 20 h 220"/>
                <a:gd name="T12" fmla="*/ 142 w 223"/>
                <a:gd name="T13" fmla="*/ 10 h 220"/>
                <a:gd name="T14" fmla="*/ 41 w 223"/>
                <a:gd name="T15" fmla="*/ 39 h 220"/>
                <a:gd name="T16" fmla="*/ 41 w 223"/>
                <a:gd name="T17" fmla="*/ 39 h 220"/>
                <a:gd name="T18" fmla="*/ 43 w 223"/>
                <a:gd name="T19" fmla="*/ 18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220">
                  <a:moveTo>
                    <a:pt x="43" y="188"/>
                  </a:moveTo>
                  <a:cubicBezTo>
                    <a:pt x="46" y="191"/>
                    <a:pt x="48" y="193"/>
                    <a:pt x="51" y="195"/>
                  </a:cubicBezTo>
                  <a:cubicBezTo>
                    <a:pt x="70" y="210"/>
                    <a:pt x="90" y="217"/>
                    <a:pt x="113" y="218"/>
                  </a:cubicBezTo>
                  <a:cubicBezTo>
                    <a:pt x="171" y="220"/>
                    <a:pt x="220" y="175"/>
                    <a:pt x="222" y="116"/>
                  </a:cubicBezTo>
                  <a:cubicBezTo>
                    <a:pt x="223" y="96"/>
                    <a:pt x="219" y="79"/>
                    <a:pt x="209" y="61"/>
                  </a:cubicBezTo>
                  <a:cubicBezTo>
                    <a:pt x="199" y="43"/>
                    <a:pt x="186" y="30"/>
                    <a:pt x="168" y="20"/>
                  </a:cubicBezTo>
                  <a:cubicBezTo>
                    <a:pt x="160" y="16"/>
                    <a:pt x="151" y="12"/>
                    <a:pt x="142" y="10"/>
                  </a:cubicBezTo>
                  <a:cubicBezTo>
                    <a:pt x="104" y="0"/>
                    <a:pt x="68" y="11"/>
                    <a:pt x="41" y="39"/>
                  </a:cubicBezTo>
                  <a:cubicBezTo>
                    <a:pt x="41" y="39"/>
                    <a:pt x="41" y="39"/>
                    <a:pt x="41" y="39"/>
                  </a:cubicBezTo>
                  <a:cubicBezTo>
                    <a:pt x="0" y="81"/>
                    <a:pt x="1" y="148"/>
                    <a:pt x="43" y="18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9" name="Freeform 119"/>
            <p:cNvSpPr>
              <a:spLocks/>
            </p:cNvSpPr>
            <p:nvPr/>
          </p:nvSpPr>
          <p:spPr bwMode="auto">
            <a:xfrm>
              <a:off x="2795" y="2324"/>
              <a:ext cx="160" cy="194"/>
            </a:xfrm>
            <a:custGeom>
              <a:avLst/>
              <a:gdLst>
                <a:gd name="T0" fmla="*/ 62 w 172"/>
                <a:gd name="T1" fmla="*/ 208 h 210"/>
                <a:gd name="T2" fmla="*/ 171 w 172"/>
                <a:gd name="T3" fmla="*/ 106 h 210"/>
                <a:gd name="T4" fmla="*/ 158 w 172"/>
                <a:gd name="T5" fmla="*/ 51 h 210"/>
                <a:gd name="T6" fmla="*/ 117 w 172"/>
                <a:gd name="T7" fmla="*/ 10 h 210"/>
                <a:gd name="T8" fmla="*/ 91 w 172"/>
                <a:gd name="T9" fmla="*/ 0 h 210"/>
                <a:gd name="T10" fmla="*/ 66 w 172"/>
                <a:gd name="T11" fmla="*/ 102 h 210"/>
                <a:gd name="T12" fmla="*/ 0 w 172"/>
                <a:gd name="T13" fmla="*/ 185 h 210"/>
                <a:gd name="T14" fmla="*/ 62 w 172"/>
                <a:gd name="T15" fmla="*/ 208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210">
                  <a:moveTo>
                    <a:pt x="62" y="208"/>
                  </a:moveTo>
                  <a:cubicBezTo>
                    <a:pt x="120" y="210"/>
                    <a:pt x="169" y="165"/>
                    <a:pt x="171" y="106"/>
                  </a:cubicBezTo>
                  <a:cubicBezTo>
                    <a:pt x="172" y="86"/>
                    <a:pt x="168" y="69"/>
                    <a:pt x="158" y="51"/>
                  </a:cubicBezTo>
                  <a:cubicBezTo>
                    <a:pt x="148" y="33"/>
                    <a:pt x="135" y="20"/>
                    <a:pt x="117" y="10"/>
                  </a:cubicBezTo>
                  <a:cubicBezTo>
                    <a:pt x="109" y="6"/>
                    <a:pt x="100" y="2"/>
                    <a:pt x="91" y="0"/>
                  </a:cubicBezTo>
                  <a:cubicBezTo>
                    <a:pt x="66" y="102"/>
                    <a:pt x="66" y="102"/>
                    <a:pt x="66" y="102"/>
                  </a:cubicBezTo>
                  <a:cubicBezTo>
                    <a:pt x="0" y="185"/>
                    <a:pt x="0" y="185"/>
                    <a:pt x="0" y="185"/>
                  </a:cubicBezTo>
                  <a:cubicBezTo>
                    <a:pt x="19" y="200"/>
                    <a:pt x="39" y="207"/>
                    <a:pt x="62" y="208"/>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0" name="Freeform 120"/>
            <p:cNvSpPr>
              <a:spLocks/>
            </p:cNvSpPr>
            <p:nvPr/>
          </p:nvSpPr>
          <p:spPr bwMode="auto">
            <a:xfrm>
              <a:off x="2785" y="2314"/>
              <a:ext cx="95" cy="104"/>
            </a:xfrm>
            <a:custGeom>
              <a:avLst/>
              <a:gdLst>
                <a:gd name="T0" fmla="*/ 76 w 101"/>
                <a:gd name="T1" fmla="*/ 112 h 112"/>
                <a:gd name="T2" fmla="*/ 101 w 101"/>
                <a:gd name="T3" fmla="*/ 10 h 112"/>
                <a:gd name="T4" fmla="*/ 0 w 101"/>
                <a:gd name="T5" fmla="*/ 39 h 112"/>
                <a:gd name="T6" fmla="*/ 76 w 101"/>
                <a:gd name="T7" fmla="*/ 112 h 112"/>
              </a:gdLst>
              <a:ahLst/>
              <a:cxnLst>
                <a:cxn ang="0">
                  <a:pos x="T0" y="T1"/>
                </a:cxn>
                <a:cxn ang="0">
                  <a:pos x="T2" y="T3"/>
                </a:cxn>
                <a:cxn ang="0">
                  <a:pos x="T4" y="T5"/>
                </a:cxn>
                <a:cxn ang="0">
                  <a:pos x="T6" y="T7"/>
                </a:cxn>
              </a:cxnLst>
              <a:rect l="0" t="0" r="r" b="b"/>
              <a:pathLst>
                <a:path w="101" h="112">
                  <a:moveTo>
                    <a:pt x="76" y="112"/>
                  </a:moveTo>
                  <a:cubicBezTo>
                    <a:pt x="101" y="10"/>
                    <a:pt x="101" y="10"/>
                    <a:pt x="101" y="10"/>
                  </a:cubicBezTo>
                  <a:cubicBezTo>
                    <a:pt x="63" y="0"/>
                    <a:pt x="27" y="11"/>
                    <a:pt x="0" y="39"/>
                  </a:cubicBezTo>
                  <a:lnTo>
                    <a:pt x="76" y="1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1" name="Freeform 121"/>
            <p:cNvSpPr>
              <a:spLocks/>
            </p:cNvSpPr>
            <p:nvPr/>
          </p:nvSpPr>
          <p:spPr bwMode="auto">
            <a:xfrm>
              <a:off x="2896" y="2463"/>
              <a:ext cx="60" cy="150"/>
            </a:xfrm>
            <a:custGeom>
              <a:avLst/>
              <a:gdLst>
                <a:gd name="T0" fmla="*/ 64 w 64"/>
                <a:gd name="T1" fmla="*/ 151 h 162"/>
                <a:gd name="T2" fmla="*/ 64 w 64"/>
                <a:gd name="T3" fmla="*/ 11 h 162"/>
                <a:gd name="T4" fmla="*/ 53 w 64"/>
                <a:gd name="T5" fmla="*/ 0 h 162"/>
                <a:gd name="T6" fmla="*/ 45 w 64"/>
                <a:gd name="T7" fmla="*/ 0 h 162"/>
                <a:gd name="T8" fmla="*/ 11 w 64"/>
                <a:gd name="T9" fmla="*/ 0 h 162"/>
                <a:gd name="T10" fmla="*/ 0 w 64"/>
                <a:gd name="T11" fmla="*/ 11 h 162"/>
                <a:gd name="T12" fmla="*/ 0 w 64"/>
                <a:gd name="T13" fmla="*/ 151 h 162"/>
                <a:gd name="T14" fmla="*/ 11 w 64"/>
                <a:gd name="T15" fmla="*/ 162 h 162"/>
                <a:gd name="T16" fmla="*/ 45 w 64"/>
                <a:gd name="T17" fmla="*/ 162 h 162"/>
                <a:gd name="T18" fmla="*/ 53 w 64"/>
                <a:gd name="T19" fmla="*/ 162 h 162"/>
                <a:gd name="T20" fmla="*/ 64 w 64"/>
                <a:gd name="T21" fmla="*/ 15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62">
                  <a:moveTo>
                    <a:pt x="64" y="151"/>
                  </a:moveTo>
                  <a:cubicBezTo>
                    <a:pt x="64" y="11"/>
                    <a:pt x="64" y="11"/>
                    <a:pt x="64" y="11"/>
                  </a:cubicBezTo>
                  <a:cubicBezTo>
                    <a:pt x="64" y="5"/>
                    <a:pt x="59" y="0"/>
                    <a:pt x="53" y="0"/>
                  </a:cubicBezTo>
                  <a:cubicBezTo>
                    <a:pt x="45" y="0"/>
                    <a:pt x="45" y="0"/>
                    <a:pt x="45" y="0"/>
                  </a:cubicBezTo>
                  <a:cubicBezTo>
                    <a:pt x="11" y="0"/>
                    <a:pt x="11" y="0"/>
                    <a:pt x="11" y="0"/>
                  </a:cubicBezTo>
                  <a:cubicBezTo>
                    <a:pt x="5" y="0"/>
                    <a:pt x="0" y="5"/>
                    <a:pt x="0" y="11"/>
                  </a:cubicBezTo>
                  <a:cubicBezTo>
                    <a:pt x="0" y="151"/>
                    <a:pt x="0" y="151"/>
                    <a:pt x="0" y="151"/>
                  </a:cubicBezTo>
                  <a:cubicBezTo>
                    <a:pt x="0" y="157"/>
                    <a:pt x="5" y="162"/>
                    <a:pt x="11" y="162"/>
                  </a:cubicBezTo>
                  <a:cubicBezTo>
                    <a:pt x="45" y="162"/>
                    <a:pt x="45" y="162"/>
                    <a:pt x="45" y="162"/>
                  </a:cubicBezTo>
                  <a:cubicBezTo>
                    <a:pt x="53" y="162"/>
                    <a:pt x="53" y="162"/>
                    <a:pt x="53" y="162"/>
                  </a:cubicBezTo>
                  <a:cubicBezTo>
                    <a:pt x="59" y="162"/>
                    <a:pt x="64" y="157"/>
                    <a:pt x="64" y="151"/>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2" name="Freeform 122"/>
            <p:cNvSpPr>
              <a:spLocks/>
            </p:cNvSpPr>
            <p:nvPr/>
          </p:nvSpPr>
          <p:spPr bwMode="auto">
            <a:xfrm>
              <a:off x="2938" y="2463"/>
              <a:ext cx="18" cy="150"/>
            </a:xfrm>
            <a:custGeom>
              <a:avLst/>
              <a:gdLst>
                <a:gd name="T0" fmla="*/ 8 w 19"/>
                <a:gd name="T1" fmla="*/ 0 h 162"/>
                <a:gd name="T2" fmla="*/ 0 w 19"/>
                <a:gd name="T3" fmla="*/ 0 h 162"/>
                <a:gd name="T4" fmla="*/ 0 w 19"/>
                <a:gd name="T5" fmla="*/ 162 h 162"/>
                <a:gd name="T6" fmla="*/ 8 w 19"/>
                <a:gd name="T7" fmla="*/ 162 h 162"/>
                <a:gd name="T8" fmla="*/ 19 w 19"/>
                <a:gd name="T9" fmla="*/ 151 h 162"/>
                <a:gd name="T10" fmla="*/ 19 w 19"/>
                <a:gd name="T11" fmla="*/ 11 h 162"/>
                <a:gd name="T12" fmla="*/ 8 w 19"/>
                <a:gd name="T13" fmla="*/ 0 h 162"/>
              </a:gdLst>
              <a:ahLst/>
              <a:cxnLst>
                <a:cxn ang="0">
                  <a:pos x="T0" y="T1"/>
                </a:cxn>
                <a:cxn ang="0">
                  <a:pos x="T2" y="T3"/>
                </a:cxn>
                <a:cxn ang="0">
                  <a:pos x="T4" y="T5"/>
                </a:cxn>
                <a:cxn ang="0">
                  <a:pos x="T6" y="T7"/>
                </a:cxn>
                <a:cxn ang="0">
                  <a:pos x="T8" y="T9"/>
                </a:cxn>
                <a:cxn ang="0">
                  <a:pos x="T10" y="T11"/>
                </a:cxn>
                <a:cxn ang="0">
                  <a:pos x="T12" y="T13"/>
                </a:cxn>
              </a:cxnLst>
              <a:rect l="0" t="0" r="r" b="b"/>
              <a:pathLst>
                <a:path w="19" h="162">
                  <a:moveTo>
                    <a:pt x="8" y="0"/>
                  </a:moveTo>
                  <a:cubicBezTo>
                    <a:pt x="0" y="0"/>
                    <a:pt x="0" y="0"/>
                    <a:pt x="0" y="0"/>
                  </a:cubicBezTo>
                  <a:cubicBezTo>
                    <a:pt x="0" y="162"/>
                    <a:pt x="0" y="162"/>
                    <a:pt x="0" y="162"/>
                  </a:cubicBezTo>
                  <a:cubicBezTo>
                    <a:pt x="8" y="162"/>
                    <a:pt x="8" y="162"/>
                    <a:pt x="8" y="162"/>
                  </a:cubicBezTo>
                  <a:cubicBezTo>
                    <a:pt x="14" y="162"/>
                    <a:pt x="19" y="157"/>
                    <a:pt x="19" y="151"/>
                  </a:cubicBezTo>
                  <a:cubicBezTo>
                    <a:pt x="19" y="11"/>
                    <a:pt x="19" y="11"/>
                    <a:pt x="19" y="11"/>
                  </a:cubicBezTo>
                  <a:cubicBezTo>
                    <a:pt x="19" y="5"/>
                    <a:pt x="14" y="0"/>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3" name="Freeform 123"/>
            <p:cNvSpPr>
              <a:spLocks/>
            </p:cNvSpPr>
            <p:nvPr/>
          </p:nvSpPr>
          <p:spPr bwMode="auto">
            <a:xfrm>
              <a:off x="2964" y="2439"/>
              <a:ext cx="59" cy="174"/>
            </a:xfrm>
            <a:custGeom>
              <a:avLst/>
              <a:gdLst>
                <a:gd name="T0" fmla="*/ 63 w 63"/>
                <a:gd name="T1" fmla="*/ 177 h 188"/>
                <a:gd name="T2" fmla="*/ 63 w 63"/>
                <a:gd name="T3" fmla="*/ 11 h 188"/>
                <a:gd name="T4" fmla="*/ 52 w 63"/>
                <a:gd name="T5" fmla="*/ 0 h 188"/>
                <a:gd name="T6" fmla="*/ 44 w 63"/>
                <a:gd name="T7" fmla="*/ 0 h 188"/>
                <a:gd name="T8" fmla="*/ 44 w 63"/>
                <a:gd name="T9" fmla="*/ 0 h 188"/>
                <a:gd name="T10" fmla="*/ 11 w 63"/>
                <a:gd name="T11" fmla="*/ 0 h 188"/>
                <a:gd name="T12" fmla="*/ 0 w 63"/>
                <a:gd name="T13" fmla="*/ 11 h 188"/>
                <a:gd name="T14" fmla="*/ 0 w 63"/>
                <a:gd name="T15" fmla="*/ 177 h 188"/>
                <a:gd name="T16" fmla="*/ 10 w 63"/>
                <a:gd name="T17" fmla="*/ 188 h 188"/>
                <a:gd name="T18" fmla="*/ 44 w 63"/>
                <a:gd name="T19" fmla="*/ 188 h 188"/>
                <a:gd name="T20" fmla="*/ 44 w 63"/>
                <a:gd name="T21" fmla="*/ 188 h 188"/>
                <a:gd name="T22" fmla="*/ 52 w 63"/>
                <a:gd name="T23" fmla="*/ 188 h 188"/>
                <a:gd name="T24" fmla="*/ 63 w 63"/>
                <a:gd name="T25" fmla="*/ 17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188">
                  <a:moveTo>
                    <a:pt x="63" y="177"/>
                  </a:moveTo>
                  <a:cubicBezTo>
                    <a:pt x="63" y="11"/>
                    <a:pt x="63" y="11"/>
                    <a:pt x="63" y="11"/>
                  </a:cubicBezTo>
                  <a:cubicBezTo>
                    <a:pt x="63" y="5"/>
                    <a:pt x="58" y="1"/>
                    <a:pt x="52" y="0"/>
                  </a:cubicBezTo>
                  <a:cubicBezTo>
                    <a:pt x="44" y="0"/>
                    <a:pt x="44" y="0"/>
                    <a:pt x="44" y="0"/>
                  </a:cubicBezTo>
                  <a:cubicBezTo>
                    <a:pt x="44" y="0"/>
                    <a:pt x="44" y="0"/>
                    <a:pt x="44" y="0"/>
                  </a:cubicBezTo>
                  <a:cubicBezTo>
                    <a:pt x="11" y="0"/>
                    <a:pt x="11" y="0"/>
                    <a:pt x="11" y="0"/>
                  </a:cubicBezTo>
                  <a:cubicBezTo>
                    <a:pt x="5" y="0"/>
                    <a:pt x="0" y="5"/>
                    <a:pt x="0" y="11"/>
                  </a:cubicBezTo>
                  <a:cubicBezTo>
                    <a:pt x="0" y="177"/>
                    <a:pt x="0" y="177"/>
                    <a:pt x="0" y="177"/>
                  </a:cubicBezTo>
                  <a:cubicBezTo>
                    <a:pt x="0" y="183"/>
                    <a:pt x="4" y="188"/>
                    <a:pt x="10" y="188"/>
                  </a:cubicBezTo>
                  <a:cubicBezTo>
                    <a:pt x="44" y="188"/>
                    <a:pt x="44" y="188"/>
                    <a:pt x="44" y="188"/>
                  </a:cubicBezTo>
                  <a:cubicBezTo>
                    <a:pt x="44" y="188"/>
                    <a:pt x="44" y="188"/>
                    <a:pt x="44" y="188"/>
                  </a:cubicBezTo>
                  <a:cubicBezTo>
                    <a:pt x="52" y="188"/>
                    <a:pt x="52" y="188"/>
                    <a:pt x="52" y="188"/>
                  </a:cubicBezTo>
                  <a:cubicBezTo>
                    <a:pt x="58" y="188"/>
                    <a:pt x="63" y="183"/>
                    <a:pt x="63" y="177"/>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4" name="Freeform 124"/>
            <p:cNvSpPr>
              <a:spLocks/>
            </p:cNvSpPr>
            <p:nvPr/>
          </p:nvSpPr>
          <p:spPr bwMode="auto">
            <a:xfrm>
              <a:off x="3005" y="2439"/>
              <a:ext cx="18" cy="174"/>
            </a:xfrm>
            <a:custGeom>
              <a:avLst/>
              <a:gdLst>
                <a:gd name="T0" fmla="*/ 8 w 19"/>
                <a:gd name="T1" fmla="*/ 0 h 188"/>
                <a:gd name="T2" fmla="*/ 0 w 19"/>
                <a:gd name="T3" fmla="*/ 0 h 188"/>
                <a:gd name="T4" fmla="*/ 0 w 19"/>
                <a:gd name="T5" fmla="*/ 188 h 188"/>
                <a:gd name="T6" fmla="*/ 8 w 19"/>
                <a:gd name="T7" fmla="*/ 188 h 188"/>
                <a:gd name="T8" fmla="*/ 19 w 19"/>
                <a:gd name="T9" fmla="*/ 177 h 188"/>
                <a:gd name="T10" fmla="*/ 19 w 19"/>
                <a:gd name="T11" fmla="*/ 11 h 188"/>
                <a:gd name="T12" fmla="*/ 8 w 19"/>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19" h="188">
                  <a:moveTo>
                    <a:pt x="8" y="0"/>
                  </a:moveTo>
                  <a:cubicBezTo>
                    <a:pt x="0" y="0"/>
                    <a:pt x="0" y="0"/>
                    <a:pt x="0" y="0"/>
                  </a:cubicBezTo>
                  <a:cubicBezTo>
                    <a:pt x="0" y="188"/>
                    <a:pt x="0" y="188"/>
                    <a:pt x="0" y="188"/>
                  </a:cubicBezTo>
                  <a:cubicBezTo>
                    <a:pt x="8" y="188"/>
                    <a:pt x="8" y="188"/>
                    <a:pt x="8" y="188"/>
                  </a:cubicBezTo>
                  <a:cubicBezTo>
                    <a:pt x="14" y="188"/>
                    <a:pt x="19" y="183"/>
                    <a:pt x="19" y="177"/>
                  </a:cubicBezTo>
                  <a:cubicBezTo>
                    <a:pt x="19" y="11"/>
                    <a:pt x="19" y="11"/>
                    <a:pt x="19" y="11"/>
                  </a:cubicBezTo>
                  <a:cubicBezTo>
                    <a:pt x="19" y="5"/>
                    <a:pt x="14" y="1"/>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5" name="Freeform 125"/>
            <p:cNvSpPr>
              <a:spLocks/>
            </p:cNvSpPr>
            <p:nvPr/>
          </p:nvSpPr>
          <p:spPr bwMode="auto">
            <a:xfrm>
              <a:off x="3034" y="2394"/>
              <a:ext cx="59" cy="219"/>
            </a:xfrm>
            <a:custGeom>
              <a:avLst/>
              <a:gdLst>
                <a:gd name="T0" fmla="*/ 63 w 63"/>
                <a:gd name="T1" fmla="*/ 225 h 236"/>
                <a:gd name="T2" fmla="*/ 63 w 63"/>
                <a:gd name="T3" fmla="*/ 11 h 236"/>
                <a:gd name="T4" fmla="*/ 53 w 63"/>
                <a:gd name="T5" fmla="*/ 0 h 236"/>
                <a:gd name="T6" fmla="*/ 45 w 63"/>
                <a:gd name="T7" fmla="*/ 0 h 236"/>
                <a:gd name="T8" fmla="*/ 11 w 63"/>
                <a:gd name="T9" fmla="*/ 0 h 236"/>
                <a:gd name="T10" fmla="*/ 0 w 63"/>
                <a:gd name="T11" fmla="*/ 11 h 236"/>
                <a:gd name="T12" fmla="*/ 0 w 63"/>
                <a:gd name="T13" fmla="*/ 225 h 236"/>
                <a:gd name="T14" fmla="*/ 11 w 63"/>
                <a:gd name="T15" fmla="*/ 236 h 236"/>
                <a:gd name="T16" fmla="*/ 44 w 63"/>
                <a:gd name="T17" fmla="*/ 236 h 236"/>
                <a:gd name="T18" fmla="*/ 52 w 63"/>
                <a:gd name="T19" fmla="*/ 236 h 236"/>
                <a:gd name="T20" fmla="*/ 63 w 63"/>
                <a:gd name="T21" fmla="*/ 2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236">
                  <a:moveTo>
                    <a:pt x="63" y="225"/>
                  </a:moveTo>
                  <a:cubicBezTo>
                    <a:pt x="63" y="11"/>
                    <a:pt x="63" y="11"/>
                    <a:pt x="63" y="11"/>
                  </a:cubicBezTo>
                  <a:cubicBezTo>
                    <a:pt x="63" y="5"/>
                    <a:pt x="58" y="0"/>
                    <a:pt x="53" y="0"/>
                  </a:cubicBezTo>
                  <a:cubicBezTo>
                    <a:pt x="45" y="0"/>
                    <a:pt x="45" y="0"/>
                    <a:pt x="45" y="0"/>
                  </a:cubicBezTo>
                  <a:cubicBezTo>
                    <a:pt x="11" y="0"/>
                    <a:pt x="11" y="0"/>
                    <a:pt x="11" y="0"/>
                  </a:cubicBezTo>
                  <a:cubicBezTo>
                    <a:pt x="5" y="0"/>
                    <a:pt x="0" y="5"/>
                    <a:pt x="0" y="11"/>
                  </a:cubicBezTo>
                  <a:cubicBezTo>
                    <a:pt x="0" y="225"/>
                    <a:pt x="0" y="225"/>
                    <a:pt x="0" y="225"/>
                  </a:cubicBezTo>
                  <a:cubicBezTo>
                    <a:pt x="0" y="231"/>
                    <a:pt x="5" y="236"/>
                    <a:pt x="11" y="236"/>
                  </a:cubicBezTo>
                  <a:cubicBezTo>
                    <a:pt x="44" y="236"/>
                    <a:pt x="44" y="236"/>
                    <a:pt x="44" y="236"/>
                  </a:cubicBezTo>
                  <a:cubicBezTo>
                    <a:pt x="52" y="236"/>
                    <a:pt x="52" y="236"/>
                    <a:pt x="52" y="236"/>
                  </a:cubicBezTo>
                  <a:cubicBezTo>
                    <a:pt x="58" y="236"/>
                    <a:pt x="63" y="231"/>
                    <a:pt x="63" y="22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6" name="Freeform 126"/>
            <p:cNvSpPr>
              <a:spLocks/>
            </p:cNvSpPr>
            <p:nvPr/>
          </p:nvSpPr>
          <p:spPr bwMode="auto">
            <a:xfrm>
              <a:off x="3075" y="2394"/>
              <a:ext cx="18" cy="219"/>
            </a:xfrm>
            <a:custGeom>
              <a:avLst/>
              <a:gdLst>
                <a:gd name="T0" fmla="*/ 9 w 19"/>
                <a:gd name="T1" fmla="*/ 0 h 236"/>
                <a:gd name="T2" fmla="*/ 1 w 19"/>
                <a:gd name="T3" fmla="*/ 0 h 236"/>
                <a:gd name="T4" fmla="*/ 0 w 19"/>
                <a:gd name="T5" fmla="*/ 236 h 236"/>
                <a:gd name="T6" fmla="*/ 8 w 19"/>
                <a:gd name="T7" fmla="*/ 236 h 236"/>
                <a:gd name="T8" fmla="*/ 19 w 19"/>
                <a:gd name="T9" fmla="*/ 225 h 236"/>
                <a:gd name="T10" fmla="*/ 19 w 19"/>
                <a:gd name="T11" fmla="*/ 11 h 236"/>
                <a:gd name="T12" fmla="*/ 9 w 19"/>
                <a:gd name="T13" fmla="*/ 0 h 236"/>
              </a:gdLst>
              <a:ahLst/>
              <a:cxnLst>
                <a:cxn ang="0">
                  <a:pos x="T0" y="T1"/>
                </a:cxn>
                <a:cxn ang="0">
                  <a:pos x="T2" y="T3"/>
                </a:cxn>
                <a:cxn ang="0">
                  <a:pos x="T4" y="T5"/>
                </a:cxn>
                <a:cxn ang="0">
                  <a:pos x="T6" y="T7"/>
                </a:cxn>
                <a:cxn ang="0">
                  <a:pos x="T8" y="T9"/>
                </a:cxn>
                <a:cxn ang="0">
                  <a:pos x="T10" y="T11"/>
                </a:cxn>
                <a:cxn ang="0">
                  <a:pos x="T12" y="T13"/>
                </a:cxn>
              </a:cxnLst>
              <a:rect l="0" t="0" r="r" b="b"/>
              <a:pathLst>
                <a:path w="19" h="236">
                  <a:moveTo>
                    <a:pt x="9" y="0"/>
                  </a:moveTo>
                  <a:cubicBezTo>
                    <a:pt x="1" y="0"/>
                    <a:pt x="1" y="0"/>
                    <a:pt x="1" y="0"/>
                  </a:cubicBezTo>
                  <a:cubicBezTo>
                    <a:pt x="0" y="236"/>
                    <a:pt x="0" y="236"/>
                    <a:pt x="0" y="236"/>
                  </a:cubicBezTo>
                  <a:cubicBezTo>
                    <a:pt x="8" y="236"/>
                    <a:pt x="8" y="236"/>
                    <a:pt x="8" y="236"/>
                  </a:cubicBezTo>
                  <a:cubicBezTo>
                    <a:pt x="14" y="236"/>
                    <a:pt x="19" y="231"/>
                    <a:pt x="19" y="225"/>
                  </a:cubicBezTo>
                  <a:cubicBezTo>
                    <a:pt x="19" y="11"/>
                    <a:pt x="19" y="11"/>
                    <a:pt x="19" y="11"/>
                  </a:cubicBezTo>
                  <a:cubicBezTo>
                    <a:pt x="19" y="5"/>
                    <a:pt x="14" y="0"/>
                    <a:pt x="9"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7" name="Freeform 127"/>
            <p:cNvSpPr>
              <a:spLocks/>
            </p:cNvSpPr>
            <p:nvPr/>
          </p:nvSpPr>
          <p:spPr bwMode="auto">
            <a:xfrm>
              <a:off x="2927" y="2351"/>
              <a:ext cx="138" cy="91"/>
            </a:xfrm>
            <a:custGeom>
              <a:avLst/>
              <a:gdLst>
                <a:gd name="T0" fmla="*/ 68 w 138"/>
                <a:gd name="T1" fmla="*/ 65 h 91"/>
                <a:gd name="T2" fmla="*/ 1 w 138"/>
                <a:gd name="T3" fmla="*/ 91 h 91"/>
                <a:gd name="T4" fmla="*/ 0 w 138"/>
                <a:gd name="T5" fmla="*/ 88 h 91"/>
                <a:gd name="T6" fmla="*/ 67 w 138"/>
                <a:gd name="T7" fmla="*/ 61 h 91"/>
                <a:gd name="T8" fmla="*/ 135 w 138"/>
                <a:gd name="T9" fmla="*/ 0 h 91"/>
                <a:gd name="T10" fmla="*/ 138 w 138"/>
                <a:gd name="T11" fmla="*/ 2 h 91"/>
                <a:gd name="T12" fmla="*/ 68 w 138"/>
                <a:gd name="T13" fmla="*/ 65 h 91"/>
              </a:gdLst>
              <a:ahLst/>
              <a:cxnLst>
                <a:cxn ang="0">
                  <a:pos x="T0" y="T1"/>
                </a:cxn>
                <a:cxn ang="0">
                  <a:pos x="T2" y="T3"/>
                </a:cxn>
                <a:cxn ang="0">
                  <a:pos x="T4" y="T5"/>
                </a:cxn>
                <a:cxn ang="0">
                  <a:pos x="T6" y="T7"/>
                </a:cxn>
                <a:cxn ang="0">
                  <a:pos x="T8" y="T9"/>
                </a:cxn>
                <a:cxn ang="0">
                  <a:pos x="T10" y="T11"/>
                </a:cxn>
                <a:cxn ang="0">
                  <a:pos x="T12" y="T13"/>
                </a:cxn>
              </a:cxnLst>
              <a:rect l="0" t="0" r="r" b="b"/>
              <a:pathLst>
                <a:path w="138" h="91">
                  <a:moveTo>
                    <a:pt x="68" y="65"/>
                  </a:moveTo>
                  <a:lnTo>
                    <a:pt x="1" y="91"/>
                  </a:lnTo>
                  <a:lnTo>
                    <a:pt x="0" y="88"/>
                  </a:lnTo>
                  <a:lnTo>
                    <a:pt x="67" y="61"/>
                  </a:lnTo>
                  <a:lnTo>
                    <a:pt x="135" y="0"/>
                  </a:lnTo>
                  <a:lnTo>
                    <a:pt x="138" y="2"/>
                  </a:lnTo>
                  <a:lnTo>
                    <a:pt x="68" y="65"/>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8" name="Freeform 128"/>
            <p:cNvSpPr>
              <a:spLocks/>
            </p:cNvSpPr>
            <p:nvPr/>
          </p:nvSpPr>
          <p:spPr bwMode="auto">
            <a:xfrm>
              <a:off x="2915" y="2428"/>
              <a:ext cx="25" cy="25"/>
            </a:xfrm>
            <a:custGeom>
              <a:avLst/>
              <a:gdLst>
                <a:gd name="T0" fmla="*/ 22 w 27"/>
                <a:gd name="T1" fmla="*/ 5 h 26"/>
                <a:gd name="T2" fmla="*/ 22 w 27"/>
                <a:gd name="T3" fmla="*/ 22 h 26"/>
                <a:gd name="T4" fmla="*/ 5 w 27"/>
                <a:gd name="T5" fmla="*/ 21 h 26"/>
                <a:gd name="T6" fmla="*/ 5 w 27"/>
                <a:gd name="T7" fmla="*/ 4 h 26"/>
                <a:gd name="T8" fmla="*/ 22 w 27"/>
                <a:gd name="T9" fmla="*/ 5 h 26"/>
              </a:gdLst>
              <a:ahLst/>
              <a:cxnLst>
                <a:cxn ang="0">
                  <a:pos x="T0" y="T1"/>
                </a:cxn>
                <a:cxn ang="0">
                  <a:pos x="T2" y="T3"/>
                </a:cxn>
                <a:cxn ang="0">
                  <a:pos x="T4" y="T5"/>
                </a:cxn>
                <a:cxn ang="0">
                  <a:pos x="T6" y="T7"/>
                </a:cxn>
                <a:cxn ang="0">
                  <a:pos x="T8" y="T9"/>
                </a:cxn>
              </a:cxnLst>
              <a:rect l="0" t="0" r="r" b="b"/>
              <a:pathLst>
                <a:path w="27" h="26">
                  <a:moveTo>
                    <a:pt x="22" y="5"/>
                  </a:moveTo>
                  <a:cubicBezTo>
                    <a:pt x="27" y="9"/>
                    <a:pt x="27" y="17"/>
                    <a:pt x="22" y="22"/>
                  </a:cubicBezTo>
                  <a:cubicBezTo>
                    <a:pt x="17" y="26"/>
                    <a:pt x="9" y="26"/>
                    <a:pt x="5" y="21"/>
                  </a:cubicBezTo>
                  <a:cubicBezTo>
                    <a:pt x="0" y="16"/>
                    <a:pt x="0" y="9"/>
                    <a:pt x="5" y="4"/>
                  </a:cubicBezTo>
                  <a:cubicBezTo>
                    <a:pt x="10" y="0"/>
                    <a:pt x="18" y="0"/>
                    <a:pt x="22" y="5"/>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9" name="Freeform 129"/>
            <p:cNvSpPr>
              <a:spLocks/>
            </p:cNvSpPr>
            <p:nvPr/>
          </p:nvSpPr>
          <p:spPr bwMode="auto">
            <a:xfrm>
              <a:off x="2984" y="2403"/>
              <a:ext cx="22" cy="22"/>
            </a:xfrm>
            <a:custGeom>
              <a:avLst/>
              <a:gdLst>
                <a:gd name="T0" fmla="*/ 24 w 24"/>
                <a:gd name="T1" fmla="*/ 12 h 24"/>
                <a:gd name="T2" fmla="*/ 12 w 24"/>
                <a:gd name="T3" fmla="*/ 24 h 24"/>
                <a:gd name="T4" fmla="*/ 0 w 24"/>
                <a:gd name="T5" fmla="*/ 12 h 24"/>
                <a:gd name="T6" fmla="*/ 12 w 24"/>
                <a:gd name="T7" fmla="*/ 0 h 24"/>
                <a:gd name="T8" fmla="*/ 24 w 24"/>
                <a:gd name="T9" fmla="*/ 12 h 24"/>
              </a:gdLst>
              <a:ahLst/>
              <a:cxnLst>
                <a:cxn ang="0">
                  <a:pos x="T0" y="T1"/>
                </a:cxn>
                <a:cxn ang="0">
                  <a:pos x="T2" y="T3"/>
                </a:cxn>
                <a:cxn ang="0">
                  <a:pos x="T4" y="T5"/>
                </a:cxn>
                <a:cxn ang="0">
                  <a:pos x="T6" y="T7"/>
                </a:cxn>
                <a:cxn ang="0">
                  <a:pos x="T8" y="T9"/>
                </a:cxn>
              </a:cxnLst>
              <a:rect l="0" t="0" r="r" b="b"/>
              <a:pathLst>
                <a:path w="24" h="24">
                  <a:moveTo>
                    <a:pt x="24" y="12"/>
                  </a:moveTo>
                  <a:cubicBezTo>
                    <a:pt x="24" y="19"/>
                    <a:pt x="18" y="24"/>
                    <a:pt x="12" y="24"/>
                  </a:cubicBezTo>
                  <a:cubicBezTo>
                    <a:pt x="5" y="24"/>
                    <a:pt x="0" y="19"/>
                    <a:pt x="0" y="12"/>
                  </a:cubicBezTo>
                  <a:cubicBezTo>
                    <a:pt x="0" y="5"/>
                    <a:pt x="5" y="0"/>
                    <a:pt x="12" y="0"/>
                  </a:cubicBezTo>
                  <a:cubicBezTo>
                    <a:pt x="19" y="0"/>
                    <a:pt x="24" y="5"/>
                    <a:pt x="24" y="12"/>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0" name="Oval 130"/>
            <p:cNvSpPr>
              <a:spLocks noChangeArrowheads="1"/>
            </p:cNvSpPr>
            <p:nvPr/>
          </p:nvSpPr>
          <p:spPr bwMode="auto">
            <a:xfrm>
              <a:off x="3053" y="2340"/>
              <a:ext cx="22" cy="23"/>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1" name="Freeform 131"/>
            <p:cNvSpPr>
              <a:spLocks/>
            </p:cNvSpPr>
            <p:nvPr/>
          </p:nvSpPr>
          <p:spPr bwMode="auto">
            <a:xfrm>
              <a:off x="3235" y="3001"/>
              <a:ext cx="329" cy="422"/>
            </a:xfrm>
            <a:custGeom>
              <a:avLst/>
              <a:gdLst>
                <a:gd name="T0" fmla="*/ 0 w 329"/>
                <a:gd name="T1" fmla="*/ 0 h 422"/>
                <a:gd name="T2" fmla="*/ 329 w 329"/>
                <a:gd name="T3" fmla="*/ 422 h 422"/>
                <a:gd name="T4" fmla="*/ 288 w 329"/>
                <a:gd name="T5" fmla="*/ 422 h 422"/>
                <a:gd name="T6" fmla="*/ 0 w 329"/>
                <a:gd name="T7" fmla="*/ 0 h 422"/>
              </a:gdLst>
              <a:ahLst/>
              <a:cxnLst>
                <a:cxn ang="0">
                  <a:pos x="T0" y="T1"/>
                </a:cxn>
                <a:cxn ang="0">
                  <a:pos x="T2" y="T3"/>
                </a:cxn>
                <a:cxn ang="0">
                  <a:pos x="T4" y="T5"/>
                </a:cxn>
                <a:cxn ang="0">
                  <a:pos x="T6" y="T7"/>
                </a:cxn>
              </a:cxnLst>
              <a:rect l="0" t="0" r="r" b="b"/>
              <a:pathLst>
                <a:path w="329" h="422">
                  <a:moveTo>
                    <a:pt x="0" y="0"/>
                  </a:moveTo>
                  <a:lnTo>
                    <a:pt x="329" y="422"/>
                  </a:lnTo>
                  <a:lnTo>
                    <a:pt x="288" y="422"/>
                  </a:ln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2" name="Freeform 132"/>
            <p:cNvSpPr>
              <a:spLocks/>
            </p:cNvSpPr>
            <p:nvPr/>
          </p:nvSpPr>
          <p:spPr bwMode="auto">
            <a:xfrm>
              <a:off x="2137" y="1728"/>
              <a:ext cx="122" cy="251"/>
            </a:xfrm>
            <a:custGeom>
              <a:avLst/>
              <a:gdLst>
                <a:gd name="T0" fmla="*/ 130 w 130"/>
                <a:gd name="T1" fmla="*/ 118 h 271"/>
                <a:gd name="T2" fmla="*/ 12 w 130"/>
                <a:gd name="T3" fmla="*/ 0 h 271"/>
                <a:gd name="T4" fmla="*/ 0 w 130"/>
                <a:gd name="T5" fmla="*/ 1 h 271"/>
                <a:gd name="T6" fmla="*/ 107 w 130"/>
                <a:gd name="T7" fmla="*/ 118 h 271"/>
                <a:gd name="T8" fmla="*/ 82 w 130"/>
                <a:gd name="T9" fmla="*/ 190 h 271"/>
                <a:gd name="T10" fmla="*/ 82 w 130"/>
                <a:gd name="T11" fmla="*/ 190 h 271"/>
                <a:gd name="T12" fmla="*/ 82 w 130"/>
                <a:gd name="T13" fmla="*/ 190 h 271"/>
                <a:gd name="T14" fmla="*/ 75 w 130"/>
                <a:gd name="T15" fmla="*/ 199 h 271"/>
                <a:gd name="T16" fmla="*/ 43 w 130"/>
                <a:gd name="T17" fmla="*/ 271 h 271"/>
                <a:gd name="T18" fmla="*/ 67 w 130"/>
                <a:gd name="T19" fmla="*/ 271 h 271"/>
                <a:gd name="T20" fmla="*/ 98 w 130"/>
                <a:gd name="T21" fmla="*/ 199 h 271"/>
                <a:gd name="T22" fmla="*/ 105 w 130"/>
                <a:gd name="T23" fmla="*/ 190 h 271"/>
                <a:gd name="T24" fmla="*/ 105 w 130"/>
                <a:gd name="T25" fmla="*/ 190 h 271"/>
                <a:gd name="T26" fmla="*/ 105 w 130"/>
                <a:gd name="T27" fmla="*/ 190 h 271"/>
                <a:gd name="T28" fmla="*/ 130 w 130"/>
                <a:gd name="T29"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71">
                  <a:moveTo>
                    <a:pt x="130" y="118"/>
                  </a:moveTo>
                  <a:cubicBezTo>
                    <a:pt x="130" y="53"/>
                    <a:pt x="77" y="0"/>
                    <a:pt x="12" y="0"/>
                  </a:cubicBezTo>
                  <a:cubicBezTo>
                    <a:pt x="8" y="0"/>
                    <a:pt x="4" y="1"/>
                    <a:pt x="0" y="1"/>
                  </a:cubicBezTo>
                  <a:cubicBezTo>
                    <a:pt x="60" y="7"/>
                    <a:pt x="107" y="57"/>
                    <a:pt x="107" y="118"/>
                  </a:cubicBezTo>
                  <a:cubicBezTo>
                    <a:pt x="107" y="145"/>
                    <a:pt x="97" y="170"/>
                    <a:pt x="82" y="190"/>
                  </a:cubicBezTo>
                  <a:cubicBezTo>
                    <a:pt x="82" y="190"/>
                    <a:pt x="82" y="190"/>
                    <a:pt x="82" y="190"/>
                  </a:cubicBezTo>
                  <a:cubicBezTo>
                    <a:pt x="82" y="190"/>
                    <a:pt x="82" y="190"/>
                    <a:pt x="82" y="190"/>
                  </a:cubicBezTo>
                  <a:cubicBezTo>
                    <a:pt x="80" y="193"/>
                    <a:pt x="77" y="196"/>
                    <a:pt x="75" y="199"/>
                  </a:cubicBezTo>
                  <a:cubicBezTo>
                    <a:pt x="64" y="213"/>
                    <a:pt x="43" y="242"/>
                    <a:pt x="43" y="271"/>
                  </a:cubicBezTo>
                  <a:cubicBezTo>
                    <a:pt x="67" y="271"/>
                    <a:pt x="67" y="271"/>
                    <a:pt x="67" y="271"/>
                  </a:cubicBezTo>
                  <a:cubicBezTo>
                    <a:pt x="67" y="242"/>
                    <a:pt x="87" y="213"/>
                    <a:pt x="98" y="199"/>
                  </a:cubicBezTo>
                  <a:cubicBezTo>
                    <a:pt x="101" y="196"/>
                    <a:pt x="103" y="193"/>
                    <a:pt x="105" y="190"/>
                  </a:cubicBezTo>
                  <a:cubicBezTo>
                    <a:pt x="105" y="190"/>
                    <a:pt x="105" y="190"/>
                    <a:pt x="105" y="190"/>
                  </a:cubicBezTo>
                  <a:cubicBezTo>
                    <a:pt x="105" y="190"/>
                    <a:pt x="105" y="190"/>
                    <a:pt x="105" y="190"/>
                  </a:cubicBezTo>
                  <a:cubicBezTo>
                    <a:pt x="121" y="170"/>
                    <a:pt x="130" y="145"/>
                    <a:pt x="130" y="118"/>
                  </a:cubicBezTo>
                </a:path>
              </a:pathLst>
            </a:custGeom>
            <a:solidFill>
              <a:srgbClr val="FFE3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3" name="Freeform 133"/>
            <p:cNvSpPr>
              <a:spLocks/>
            </p:cNvSpPr>
            <p:nvPr/>
          </p:nvSpPr>
          <p:spPr bwMode="auto">
            <a:xfrm>
              <a:off x="1735" y="2216"/>
              <a:ext cx="17" cy="45"/>
            </a:xfrm>
            <a:custGeom>
              <a:avLst/>
              <a:gdLst>
                <a:gd name="T0" fmla="*/ 11 w 17"/>
                <a:gd name="T1" fmla="*/ 7 h 45"/>
                <a:gd name="T2" fmla="*/ 3 w 17"/>
                <a:gd name="T3" fmla="*/ 13 h 45"/>
                <a:gd name="T4" fmla="*/ 0 w 17"/>
                <a:gd name="T5" fmla="*/ 8 h 45"/>
                <a:gd name="T6" fmla="*/ 11 w 17"/>
                <a:gd name="T7" fmla="*/ 0 h 45"/>
                <a:gd name="T8" fmla="*/ 17 w 17"/>
                <a:gd name="T9" fmla="*/ 0 h 45"/>
                <a:gd name="T10" fmla="*/ 17 w 17"/>
                <a:gd name="T11" fmla="*/ 45 h 45"/>
                <a:gd name="T12" fmla="*/ 11 w 17"/>
                <a:gd name="T13" fmla="*/ 45 h 45"/>
                <a:gd name="T14" fmla="*/ 11 w 17"/>
                <a:gd name="T15" fmla="*/ 7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7"/>
                  </a:moveTo>
                  <a:lnTo>
                    <a:pt x="3" y="13"/>
                  </a:lnTo>
                  <a:lnTo>
                    <a:pt x="0" y="8"/>
                  </a:lnTo>
                  <a:lnTo>
                    <a:pt x="11" y="0"/>
                  </a:lnTo>
                  <a:lnTo>
                    <a:pt x="17" y="0"/>
                  </a:lnTo>
                  <a:lnTo>
                    <a:pt x="17" y="45"/>
                  </a:lnTo>
                  <a:lnTo>
                    <a:pt x="11" y="45"/>
                  </a:lnTo>
                  <a:lnTo>
                    <a:pt x="11" y="7"/>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4" name="Freeform 134"/>
            <p:cNvSpPr>
              <a:spLocks/>
            </p:cNvSpPr>
            <p:nvPr/>
          </p:nvSpPr>
          <p:spPr bwMode="auto">
            <a:xfrm>
              <a:off x="1855" y="2227"/>
              <a:ext cx="16" cy="46"/>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5" name="Freeform 135"/>
            <p:cNvSpPr>
              <a:spLocks noEditPoints="1"/>
            </p:cNvSpPr>
            <p:nvPr/>
          </p:nvSpPr>
          <p:spPr bwMode="auto">
            <a:xfrm>
              <a:off x="1808" y="2231"/>
              <a:ext cx="31" cy="46"/>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6" name="Freeform 136"/>
            <p:cNvSpPr>
              <a:spLocks/>
            </p:cNvSpPr>
            <p:nvPr/>
          </p:nvSpPr>
          <p:spPr bwMode="auto">
            <a:xfrm>
              <a:off x="1855" y="2227"/>
              <a:ext cx="16" cy="46"/>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7" name="Freeform 137"/>
            <p:cNvSpPr>
              <a:spLocks noEditPoints="1"/>
            </p:cNvSpPr>
            <p:nvPr/>
          </p:nvSpPr>
          <p:spPr bwMode="auto">
            <a:xfrm>
              <a:off x="1808" y="2231"/>
              <a:ext cx="31" cy="46"/>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8" name="Freeform 138"/>
            <p:cNvSpPr>
              <a:spLocks/>
            </p:cNvSpPr>
            <p:nvPr/>
          </p:nvSpPr>
          <p:spPr bwMode="auto">
            <a:xfrm>
              <a:off x="3130" y="2974"/>
              <a:ext cx="81" cy="58"/>
            </a:xfrm>
            <a:custGeom>
              <a:avLst/>
              <a:gdLst>
                <a:gd name="T0" fmla="*/ 87 w 87"/>
                <a:gd name="T1" fmla="*/ 29 h 62"/>
                <a:gd name="T2" fmla="*/ 0 w 87"/>
                <a:gd name="T3" fmla="*/ 58 h 62"/>
                <a:gd name="T4" fmla="*/ 66 w 87"/>
                <a:gd name="T5" fmla="*/ 0 h 62"/>
                <a:gd name="T6" fmla="*/ 87 w 87"/>
                <a:gd name="T7" fmla="*/ 29 h 62"/>
              </a:gdLst>
              <a:ahLst/>
              <a:cxnLst>
                <a:cxn ang="0">
                  <a:pos x="T0" y="T1"/>
                </a:cxn>
                <a:cxn ang="0">
                  <a:pos x="T2" y="T3"/>
                </a:cxn>
                <a:cxn ang="0">
                  <a:pos x="T4" y="T5"/>
                </a:cxn>
                <a:cxn ang="0">
                  <a:pos x="T6" y="T7"/>
                </a:cxn>
              </a:cxnLst>
              <a:rect l="0" t="0" r="r" b="b"/>
              <a:pathLst>
                <a:path w="87" h="62">
                  <a:moveTo>
                    <a:pt x="87" y="29"/>
                  </a:moveTo>
                  <a:cubicBezTo>
                    <a:pt x="87" y="29"/>
                    <a:pt x="48" y="62"/>
                    <a:pt x="0" y="58"/>
                  </a:cubicBezTo>
                  <a:cubicBezTo>
                    <a:pt x="34" y="39"/>
                    <a:pt x="66" y="0"/>
                    <a:pt x="66" y="0"/>
                  </a:cubicBezTo>
                  <a:lnTo>
                    <a:pt x="87" y="29"/>
                  </a:lnTo>
                  <a:close/>
                </a:path>
              </a:pathLst>
            </a:custGeom>
            <a:solidFill>
              <a:srgbClr val="4D2F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9" name="Rectangle 139"/>
            <p:cNvSpPr>
              <a:spLocks noChangeArrowheads="1"/>
            </p:cNvSpPr>
            <p:nvPr/>
          </p:nvSpPr>
          <p:spPr bwMode="auto">
            <a:xfrm>
              <a:off x="2246"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0" name="Rectangle 140"/>
            <p:cNvSpPr>
              <a:spLocks noChangeArrowheads="1"/>
            </p:cNvSpPr>
            <p:nvPr/>
          </p:nvSpPr>
          <p:spPr bwMode="auto">
            <a:xfrm>
              <a:off x="2281"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1" name="Rectangle 141"/>
            <p:cNvSpPr>
              <a:spLocks noChangeArrowheads="1"/>
            </p:cNvSpPr>
            <p:nvPr/>
          </p:nvSpPr>
          <p:spPr bwMode="auto">
            <a:xfrm>
              <a:off x="2315" y="2594"/>
              <a:ext cx="18"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2" name="Rectangle 142"/>
            <p:cNvSpPr>
              <a:spLocks noChangeArrowheads="1"/>
            </p:cNvSpPr>
            <p:nvPr/>
          </p:nvSpPr>
          <p:spPr bwMode="auto">
            <a:xfrm>
              <a:off x="2350" y="2594"/>
              <a:ext cx="18"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3" name="Rectangle 143"/>
            <p:cNvSpPr>
              <a:spLocks noChangeArrowheads="1"/>
            </p:cNvSpPr>
            <p:nvPr/>
          </p:nvSpPr>
          <p:spPr bwMode="auto">
            <a:xfrm>
              <a:off x="2383"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4" name="Rectangle 144"/>
            <p:cNvSpPr>
              <a:spLocks noChangeArrowheads="1"/>
            </p:cNvSpPr>
            <p:nvPr/>
          </p:nvSpPr>
          <p:spPr bwMode="auto">
            <a:xfrm>
              <a:off x="2273" y="2627"/>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5" name="Rectangle 145"/>
            <p:cNvSpPr>
              <a:spLocks noChangeArrowheads="1"/>
            </p:cNvSpPr>
            <p:nvPr/>
          </p:nvSpPr>
          <p:spPr bwMode="auto">
            <a:xfrm>
              <a:off x="2239" y="2671"/>
              <a:ext cx="33"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6" name="Rectangle 146"/>
            <p:cNvSpPr>
              <a:spLocks noChangeArrowheads="1"/>
            </p:cNvSpPr>
            <p:nvPr/>
          </p:nvSpPr>
          <p:spPr bwMode="auto">
            <a:xfrm>
              <a:off x="2308" y="2671"/>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7" name="Rectangle 147"/>
            <p:cNvSpPr>
              <a:spLocks noChangeArrowheads="1"/>
            </p:cNvSpPr>
            <p:nvPr/>
          </p:nvSpPr>
          <p:spPr bwMode="auto">
            <a:xfrm>
              <a:off x="2342" y="2698"/>
              <a:ext cx="33" cy="1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8" name="Rectangle 148"/>
            <p:cNvSpPr>
              <a:spLocks noChangeArrowheads="1"/>
            </p:cNvSpPr>
            <p:nvPr/>
          </p:nvSpPr>
          <p:spPr bwMode="auto">
            <a:xfrm>
              <a:off x="2376" y="2618"/>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9" name="Freeform 149"/>
            <p:cNvSpPr>
              <a:spLocks/>
            </p:cNvSpPr>
            <p:nvPr/>
          </p:nvSpPr>
          <p:spPr bwMode="auto">
            <a:xfrm>
              <a:off x="2630" y="2548"/>
              <a:ext cx="51" cy="55"/>
            </a:xfrm>
            <a:custGeom>
              <a:avLst/>
              <a:gdLst>
                <a:gd name="T0" fmla="*/ 37 w 55"/>
                <a:gd name="T1" fmla="*/ 51 h 59"/>
                <a:gd name="T2" fmla="*/ 18 w 55"/>
                <a:gd name="T3" fmla="*/ 38 h 59"/>
                <a:gd name="T4" fmla="*/ 43 w 55"/>
                <a:gd name="T5" fmla="*/ 38 h 59"/>
                <a:gd name="T6" fmla="*/ 43 w 55"/>
                <a:gd name="T7" fmla="*/ 32 h 59"/>
                <a:gd name="T8" fmla="*/ 16 w 55"/>
                <a:gd name="T9" fmla="*/ 32 h 59"/>
                <a:gd name="T10" fmla="*/ 16 w 55"/>
                <a:gd name="T11" fmla="*/ 29 h 59"/>
                <a:gd name="T12" fmla="*/ 16 w 55"/>
                <a:gd name="T13" fmla="*/ 26 h 59"/>
                <a:gd name="T14" fmla="*/ 43 w 55"/>
                <a:gd name="T15" fmla="*/ 26 h 59"/>
                <a:gd name="T16" fmla="*/ 43 w 55"/>
                <a:gd name="T17" fmla="*/ 20 h 59"/>
                <a:gd name="T18" fmla="*/ 18 w 55"/>
                <a:gd name="T19" fmla="*/ 20 h 59"/>
                <a:gd name="T20" fmla="*/ 37 w 55"/>
                <a:gd name="T21" fmla="*/ 8 h 59"/>
                <a:gd name="T22" fmla="*/ 50 w 55"/>
                <a:gd name="T23" fmla="*/ 12 h 59"/>
                <a:gd name="T24" fmla="*/ 55 w 55"/>
                <a:gd name="T25" fmla="*/ 6 h 59"/>
                <a:gd name="T26" fmla="*/ 37 w 55"/>
                <a:gd name="T27" fmla="*/ 0 h 59"/>
                <a:gd name="T28" fmla="*/ 10 w 55"/>
                <a:gd name="T29" fmla="*/ 20 h 59"/>
                <a:gd name="T30" fmla="*/ 0 w 55"/>
                <a:gd name="T31" fmla="*/ 20 h 59"/>
                <a:gd name="T32" fmla="*/ 0 w 55"/>
                <a:gd name="T33" fmla="*/ 26 h 59"/>
                <a:gd name="T34" fmla="*/ 8 w 55"/>
                <a:gd name="T35" fmla="*/ 26 h 59"/>
                <a:gd name="T36" fmla="*/ 8 w 55"/>
                <a:gd name="T37" fmla="*/ 29 h 59"/>
                <a:gd name="T38" fmla="*/ 8 w 55"/>
                <a:gd name="T39" fmla="*/ 32 h 59"/>
                <a:gd name="T40" fmla="*/ 0 w 55"/>
                <a:gd name="T41" fmla="*/ 32 h 59"/>
                <a:gd name="T42" fmla="*/ 0 w 55"/>
                <a:gd name="T43" fmla="*/ 38 h 59"/>
                <a:gd name="T44" fmla="*/ 10 w 55"/>
                <a:gd name="T45" fmla="*/ 38 h 59"/>
                <a:gd name="T46" fmla="*/ 37 w 55"/>
                <a:gd name="T47" fmla="*/ 59 h 59"/>
                <a:gd name="T48" fmla="*/ 55 w 55"/>
                <a:gd name="T49" fmla="*/ 52 h 59"/>
                <a:gd name="T50" fmla="*/ 50 w 55"/>
                <a:gd name="T51" fmla="*/ 47 h 59"/>
                <a:gd name="T52" fmla="*/ 37 w 55"/>
                <a:gd name="T53" fmla="*/ 5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9">
                  <a:moveTo>
                    <a:pt x="37" y="51"/>
                  </a:moveTo>
                  <a:cubicBezTo>
                    <a:pt x="29" y="51"/>
                    <a:pt x="21" y="46"/>
                    <a:pt x="18" y="38"/>
                  </a:cubicBezTo>
                  <a:cubicBezTo>
                    <a:pt x="43" y="38"/>
                    <a:pt x="43" y="38"/>
                    <a:pt x="43" y="38"/>
                  </a:cubicBezTo>
                  <a:cubicBezTo>
                    <a:pt x="43" y="32"/>
                    <a:pt x="43" y="32"/>
                    <a:pt x="43" y="32"/>
                  </a:cubicBezTo>
                  <a:cubicBezTo>
                    <a:pt x="16" y="32"/>
                    <a:pt x="16" y="32"/>
                    <a:pt x="16" y="32"/>
                  </a:cubicBezTo>
                  <a:cubicBezTo>
                    <a:pt x="16" y="31"/>
                    <a:pt x="16" y="30"/>
                    <a:pt x="16" y="29"/>
                  </a:cubicBezTo>
                  <a:cubicBezTo>
                    <a:pt x="16" y="28"/>
                    <a:pt x="16" y="27"/>
                    <a:pt x="16" y="26"/>
                  </a:cubicBezTo>
                  <a:cubicBezTo>
                    <a:pt x="43" y="26"/>
                    <a:pt x="43" y="26"/>
                    <a:pt x="43" y="26"/>
                  </a:cubicBezTo>
                  <a:cubicBezTo>
                    <a:pt x="43" y="20"/>
                    <a:pt x="43" y="20"/>
                    <a:pt x="43" y="20"/>
                  </a:cubicBezTo>
                  <a:cubicBezTo>
                    <a:pt x="18" y="20"/>
                    <a:pt x="18" y="20"/>
                    <a:pt x="18" y="20"/>
                  </a:cubicBezTo>
                  <a:cubicBezTo>
                    <a:pt x="21" y="13"/>
                    <a:pt x="29" y="8"/>
                    <a:pt x="37" y="8"/>
                  </a:cubicBezTo>
                  <a:cubicBezTo>
                    <a:pt x="42" y="8"/>
                    <a:pt x="46" y="9"/>
                    <a:pt x="50" y="12"/>
                  </a:cubicBezTo>
                  <a:cubicBezTo>
                    <a:pt x="55" y="6"/>
                    <a:pt x="55" y="6"/>
                    <a:pt x="55" y="6"/>
                  </a:cubicBezTo>
                  <a:cubicBezTo>
                    <a:pt x="50" y="2"/>
                    <a:pt x="44" y="0"/>
                    <a:pt x="37" y="0"/>
                  </a:cubicBezTo>
                  <a:cubicBezTo>
                    <a:pt x="24" y="0"/>
                    <a:pt x="13" y="9"/>
                    <a:pt x="10" y="20"/>
                  </a:cubicBezTo>
                  <a:cubicBezTo>
                    <a:pt x="0" y="20"/>
                    <a:pt x="0" y="20"/>
                    <a:pt x="0" y="20"/>
                  </a:cubicBezTo>
                  <a:cubicBezTo>
                    <a:pt x="0" y="26"/>
                    <a:pt x="0" y="26"/>
                    <a:pt x="0" y="26"/>
                  </a:cubicBezTo>
                  <a:cubicBezTo>
                    <a:pt x="8" y="26"/>
                    <a:pt x="8" y="26"/>
                    <a:pt x="8" y="26"/>
                  </a:cubicBezTo>
                  <a:cubicBezTo>
                    <a:pt x="8" y="27"/>
                    <a:pt x="8" y="28"/>
                    <a:pt x="8" y="29"/>
                  </a:cubicBezTo>
                  <a:cubicBezTo>
                    <a:pt x="8" y="30"/>
                    <a:pt x="8" y="31"/>
                    <a:pt x="8" y="32"/>
                  </a:cubicBezTo>
                  <a:cubicBezTo>
                    <a:pt x="0" y="32"/>
                    <a:pt x="0" y="32"/>
                    <a:pt x="0" y="32"/>
                  </a:cubicBezTo>
                  <a:cubicBezTo>
                    <a:pt x="0" y="38"/>
                    <a:pt x="0" y="38"/>
                    <a:pt x="0" y="38"/>
                  </a:cubicBezTo>
                  <a:cubicBezTo>
                    <a:pt x="10" y="38"/>
                    <a:pt x="10" y="38"/>
                    <a:pt x="10" y="38"/>
                  </a:cubicBezTo>
                  <a:cubicBezTo>
                    <a:pt x="13" y="50"/>
                    <a:pt x="24" y="59"/>
                    <a:pt x="37" y="59"/>
                  </a:cubicBezTo>
                  <a:cubicBezTo>
                    <a:pt x="44" y="59"/>
                    <a:pt x="50" y="56"/>
                    <a:pt x="55" y="52"/>
                  </a:cubicBezTo>
                  <a:cubicBezTo>
                    <a:pt x="50" y="47"/>
                    <a:pt x="50" y="47"/>
                    <a:pt x="50" y="47"/>
                  </a:cubicBezTo>
                  <a:cubicBezTo>
                    <a:pt x="46" y="49"/>
                    <a:pt x="42" y="51"/>
                    <a:pt x="37" y="5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0" name="Rectangle 150"/>
            <p:cNvSpPr>
              <a:spLocks noChangeArrowheads="1"/>
            </p:cNvSpPr>
            <p:nvPr/>
          </p:nvSpPr>
          <p:spPr bwMode="auto">
            <a:xfrm>
              <a:off x="2224" y="2811"/>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1" name="Rectangle 151"/>
            <p:cNvSpPr>
              <a:spLocks noChangeArrowheads="1"/>
            </p:cNvSpPr>
            <p:nvPr/>
          </p:nvSpPr>
          <p:spPr bwMode="auto">
            <a:xfrm>
              <a:off x="2224" y="2824"/>
              <a:ext cx="210" cy="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2" name="Rectangle 152"/>
            <p:cNvSpPr>
              <a:spLocks noChangeArrowheads="1"/>
            </p:cNvSpPr>
            <p:nvPr/>
          </p:nvSpPr>
          <p:spPr bwMode="auto">
            <a:xfrm>
              <a:off x="2224" y="2838"/>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3" name="Rectangle 153"/>
            <p:cNvSpPr>
              <a:spLocks noChangeArrowheads="1"/>
            </p:cNvSpPr>
            <p:nvPr/>
          </p:nvSpPr>
          <p:spPr bwMode="auto">
            <a:xfrm>
              <a:off x="2224" y="2852"/>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4" name="Freeform 154"/>
            <p:cNvSpPr>
              <a:spLocks/>
            </p:cNvSpPr>
            <p:nvPr/>
          </p:nvSpPr>
          <p:spPr bwMode="auto">
            <a:xfrm>
              <a:off x="2090" y="1978"/>
              <a:ext cx="116" cy="17"/>
            </a:xfrm>
            <a:custGeom>
              <a:avLst/>
              <a:gdLst>
                <a:gd name="T0" fmla="*/ 119 w 125"/>
                <a:gd name="T1" fmla="*/ 0 h 19"/>
                <a:gd name="T2" fmla="*/ 125 w 125"/>
                <a:gd name="T3" fmla="*/ 6 h 19"/>
                <a:gd name="T4" fmla="*/ 125 w 125"/>
                <a:gd name="T5" fmla="*/ 13 h 19"/>
                <a:gd name="T6" fmla="*/ 119 w 125"/>
                <a:gd name="T7" fmla="*/ 19 h 19"/>
                <a:gd name="T8" fmla="*/ 6 w 125"/>
                <a:gd name="T9" fmla="*/ 19 h 19"/>
                <a:gd name="T10" fmla="*/ 0 w 125"/>
                <a:gd name="T11" fmla="*/ 13 h 19"/>
                <a:gd name="T12" fmla="*/ 0 w 125"/>
                <a:gd name="T13" fmla="*/ 6 h 19"/>
                <a:gd name="T14" fmla="*/ 6 w 125"/>
                <a:gd name="T15" fmla="*/ 0 h 19"/>
                <a:gd name="T16" fmla="*/ 119 w 12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9">
                  <a:moveTo>
                    <a:pt x="119" y="0"/>
                  </a:moveTo>
                  <a:cubicBezTo>
                    <a:pt x="119" y="0"/>
                    <a:pt x="125" y="0"/>
                    <a:pt x="125" y="6"/>
                  </a:cubicBezTo>
                  <a:cubicBezTo>
                    <a:pt x="125" y="13"/>
                    <a:pt x="125" y="13"/>
                    <a:pt x="125" y="13"/>
                  </a:cubicBezTo>
                  <a:cubicBezTo>
                    <a:pt x="125" y="13"/>
                    <a:pt x="125" y="19"/>
                    <a:pt x="119" y="19"/>
                  </a:cubicBezTo>
                  <a:cubicBezTo>
                    <a:pt x="6" y="19"/>
                    <a:pt x="6" y="19"/>
                    <a:pt x="6" y="19"/>
                  </a:cubicBezTo>
                  <a:cubicBezTo>
                    <a:pt x="6" y="19"/>
                    <a:pt x="0" y="19"/>
                    <a:pt x="0" y="13"/>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5" name="Freeform 155"/>
            <p:cNvSpPr>
              <a:spLocks/>
            </p:cNvSpPr>
            <p:nvPr/>
          </p:nvSpPr>
          <p:spPr bwMode="auto">
            <a:xfrm>
              <a:off x="2090" y="1995"/>
              <a:ext cx="116" cy="19"/>
            </a:xfrm>
            <a:custGeom>
              <a:avLst/>
              <a:gdLst>
                <a:gd name="T0" fmla="*/ 119 w 125"/>
                <a:gd name="T1" fmla="*/ 0 h 20"/>
                <a:gd name="T2" fmla="*/ 125 w 125"/>
                <a:gd name="T3" fmla="*/ 7 h 20"/>
                <a:gd name="T4" fmla="*/ 125 w 125"/>
                <a:gd name="T5" fmla="*/ 14 h 20"/>
                <a:gd name="T6" fmla="*/ 119 w 125"/>
                <a:gd name="T7" fmla="*/ 20 h 20"/>
                <a:gd name="T8" fmla="*/ 6 w 125"/>
                <a:gd name="T9" fmla="*/ 20 h 20"/>
                <a:gd name="T10" fmla="*/ 0 w 125"/>
                <a:gd name="T11" fmla="*/ 14 h 20"/>
                <a:gd name="T12" fmla="*/ 0 w 125"/>
                <a:gd name="T13" fmla="*/ 7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7"/>
                  </a:cubicBezTo>
                  <a:cubicBezTo>
                    <a:pt x="125" y="14"/>
                    <a:pt x="125" y="14"/>
                    <a:pt x="125" y="14"/>
                  </a:cubicBezTo>
                  <a:cubicBezTo>
                    <a:pt x="125" y="14"/>
                    <a:pt x="125" y="20"/>
                    <a:pt x="119" y="20"/>
                  </a:cubicBezTo>
                  <a:cubicBezTo>
                    <a:pt x="6" y="20"/>
                    <a:pt x="6" y="20"/>
                    <a:pt x="6" y="20"/>
                  </a:cubicBezTo>
                  <a:cubicBezTo>
                    <a:pt x="6" y="20"/>
                    <a:pt x="0" y="20"/>
                    <a:pt x="0" y="14"/>
                  </a:cubicBezTo>
                  <a:cubicBezTo>
                    <a:pt x="0" y="7"/>
                    <a:pt x="0" y="7"/>
                    <a:pt x="0" y="7"/>
                  </a:cubicBezTo>
                  <a:cubicBezTo>
                    <a:pt x="0" y="7"/>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6" name="Freeform 156"/>
            <p:cNvSpPr>
              <a:spLocks/>
            </p:cNvSpPr>
            <p:nvPr/>
          </p:nvSpPr>
          <p:spPr bwMode="auto">
            <a:xfrm>
              <a:off x="2090" y="2032"/>
              <a:ext cx="116" cy="19"/>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7" name="Freeform 157"/>
            <p:cNvSpPr>
              <a:spLocks/>
            </p:cNvSpPr>
            <p:nvPr/>
          </p:nvSpPr>
          <p:spPr bwMode="auto">
            <a:xfrm>
              <a:off x="2090" y="2014"/>
              <a:ext cx="116" cy="18"/>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8" name="Freeform 158"/>
            <p:cNvSpPr>
              <a:spLocks/>
            </p:cNvSpPr>
            <p:nvPr/>
          </p:nvSpPr>
          <p:spPr bwMode="auto">
            <a:xfrm>
              <a:off x="1540" y="2454"/>
              <a:ext cx="59" cy="65"/>
            </a:xfrm>
            <a:custGeom>
              <a:avLst/>
              <a:gdLst>
                <a:gd name="T0" fmla="*/ 64 w 64"/>
                <a:gd name="T1" fmla="*/ 36 h 70"/>
                <a:gd name="T2" fmla="*/ 28 w 64"/>
                <a:gd name="T3" fmla="*/ 69 h 70"/>
                <a:gd name="T4" fmla="*/ 0 w 64"/>
                <a:gd name="T5" fmla="*/ 34 h 70"/>
                <a:gd name="T6" fmla="*/ 30 w 64"/>
                <a:gd name="T7" fmla="*/ 0 h 70"/>
                <a:gd name="T8" fmla="*/ 64 w 64"/>
                <a:gd name="T9" fmla="*/ 36 h 70"/>
              </a:gdLst>
              <a:ahLst/>
              <a:cxnLst>
                <a:cxn ang="0">
                  <a:pos x="T0" y="T1"/>
                </a:cxn>
                <a:cxn ang="0">
                  <a:pos x="T2" y="T3"/>
                </a:cxn>
                <a:cxn ang="0">
                  <a:pos x="T4" y="T5"/>
                </a:cxn>
                <a:cxn ang="0">
                  <a:pos x="T6" y="T7"/>
                </a:cxn>
                <a:cxn ang="0">
                  <a:pos x="T8" y="T9"/>
                </a:cxn>
              </a:cxnLst>
              <a:rect l="0" t="0" r="r" b="b"/>
              <a:pathLst>
                <a:path w="64" h="70">
                  <a:moveTo>
                    <a:pt x="64" y="36"/>
                  </a:moveTo>
                  <a:cubicBezTo>
                    <a:pt x="63" y="55"/>
                    <a:pt x="47" y="70"/>
                    <a:pt x="28" y="69"/>
                  </a:cubicBezTo>
                  <a:cubicBezTo>
                    <a:pt x="9" y="69"/>
                    <a:pt x="0" y="53"/>
                    <a:pt x="0" y="34"/>
                  </a:cubicBezTo>
                  <a:cubicBezTo>
                    <a:pt x="1" y="15"/>
                    <a:pt x="11" y="0"/>
                    <a:pt x="30" y="0"/>
                  </a:cubicBezTo>
                  <a:cubicBezTo>
                    <a:pt x="49" y="1"/>
                    <a:pt x="64" y="17"/>
                    <a:pt x="64" y="3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9" name="Freeform 159"/>
            <p:cNvSpPr>
              <a:spLocks/>
            </p:cNvSpPr>
            <p:nvPr/>
          </p:nvSpPr>
          <p:spPr bwMode="auto">
            <a:xfrm>
              <a:off x="1537" y="2486"/>
              <a:ext cx="62" cy="138"/>
            </a:xfrm>
            <a:custGeom>
              <a:avLst/>
              <a:gdLst>
                <a:gd name="T0" fmla="*/ 53 w 62"/>
                <a:gd name="T1" fmla="*/ 138 h 138"/>
                <a:gd name="T2" fmla="*/ 0 w 62"/>
                <a:gd name="T3" fmla="*/ 137 h 138"/>
                <a:gd name="T4" fmla="*/ 3 w 62"/>
                <a:gd name="T5" fmla="*/ 0 h 138"/>
                <a:gd name="T6" fmla="*/ 62 w 62"/>
                <a:gd name="T7" fmla="*/ 2 h 138"/>
                <a:gd name="T8" fmla="*/ 53 w 62"/>
                <a:gd name="T9" fmla="*/ 138 h 138"/>
              </a:gdLst>
              <a:ahLst/>
              <a:cxnLst>
                <a:cxn ang="0">
                  <a:pos x="T0" y="T1"/>
                </a:cxn>
                <a:cxn ang="0">
                  <a:pos x="T2" y="T3"/>
                </a:cxn>
                <a:cxn ang="0">
                  <a:pos x="T4" y="T5"/>
                </a:cxn>
                <a:cxn ang="0">
                  <a:pos x="T6" y="T7"/>
                </a:cxn>
                <a:cxn ang="0">
                  <a:pos x="T8" y="T9"/>
                </a:cxn>
              </a:cxnLst>
              <a:rect l="0" t="0" r="r" b="b"/>
              <a:pathLst>
                <a:path w="62" h="138">
                  <a:moveTo>
                    <a:pt x="53" y="138"/>
                  </a:moveTo>
                  <a:lnTo>
                    <a:pt x="0" y="137"/>
                  </a:lnTo>
                  <a:lnTo>
                    <a:pt x="3" y="0"/>
                  </a:lnTo>
                  <a:lnTo>
                    <a:pt x="62" y="2"/>
                  </a:lnTo>
                  <a:lnTo>
                    <a:pt x="53" y="13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0" name="Freeform 160"/>
            <p:cNvSpPr>
              <a:spLocks/>
            </p:cNvSpPr>
            <p:nvPr/>
          </p:nvSpPr>
          <p:spPr bwMode="auto">
            <a:xfrm>
              <a:off x="1479" y="2459"/>
              <a:ext cx="116" cy="95"/>
            </a:xfrm>
            <a:custGeom>
              <a:avLst/>
              <a:gdLst>
                <a:gd name="T0" fmla="*/ 0 w 125"/>
                <a:gd name="T1" fmla="*/ 102 h 102"/>
                <a:gd name="T2" fmla="*/ 57 w 125"/>
                <a:gd name="T3" fmla="*/ 87 h 102"/>
                <a:gd name="T4" fmla="*/ 113 w 125"/>
                <a:gd name="T5" fmla="*/ 102 h 102"/>
                <a:gd name="T6" fmla="*/ 125 w 125"/>
                <a:gd name="T7" fmla="*/ 0 h 102"/>
                <a:gd name="T8" fmla="*/ 0 w 125"/>
                <a:gd name="T9" fmla="*/ 0 h 102"/>
                <a:gd name="T10" fmla="*/ 0 w 125"/>
                <a:gd name="T11" fmla="*/ 102 h 102"/>
              </a:gdLst>
              <a:ahLst/>
              <a:cxnLst>
                <a:cxn ang="0">
                  <a:pos x="T0" y="T1"/>
                </a:cxn>
                <a:cxn ang="0">
                  <a:pos x="T2" y="T3"/>
                </a:cxn>
                <a:cxn ang="0">
                  <a:pos x="T4" y="T5"/>
                </a:cxn>
                <a:cxn ang="0">
                  <a:pos x="T6" y="T7"/>
                </a:cxn>
                <a:cxn ang="0">
                  <a:pos x="T8" y="T9"/>
                </a:cxn>
                <a:cxn ang="0">
                  <a:pos x="T10" y="T11"/>
                </a:cxn>
              </a:cxnLst>
              <a:rect l="0" t="0" r="r" b="b"/>
              <a:pathLst>
                <a:path w="125" h="102">
                  <a:moveTo>
                    <a:pt x="0" y="102"/>
                  </a:moveTo>
                  <a:cubicBezTo>
                    <a:pt x="0" y="97"/>
                    <a:pt x="26" y="87"/>
                    <a:pt x="57" y="87"/>
                  </a:cubicBezTo>
                  <a:cubicBezTo>
                    <a:pt x="88" y="87"/>
                    <a:pt x="113" y="97"/>
                    <a:pt x="113" y="102"/>
                  </a:cubicBezTo>
                  <a:cubicBezTo>
                    <a:pt x="125" y="0"/>
                    <a:pt x="125" y="0"/>
                    <a:pt x="125" y="0"/>
                  </a:cubicBezTo>
                  <a:cubicBezTo>
                    <a:pt x="0" y="0"/>
                    <a:pt x="0" y="0"/>
                    <a:pt x="0" y="0"/>
                  </a:cubicBezTo>
                  <a:lnTo>
                    <a:pt x="0" y="10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1" name="Freeform 161"/>
            <p:cNvSpPr>
              <a:spLocks/>
            </p:cNvSpPr>
            <p:nvPr/>
          </p:nvSpPr>
          <p:spPr bwMode="auto">
            <a:xfrm>
              <a:off x="1456" y="2268"/>
              <a:ext cx="94" cy="247"/>
            </a:xfrm>
            <a:custGeom>
              <a:avLst/>
              <a:gdLst>
                <a:gd name="T0" fmla="*/ 70 w 94"/>
                <a:gd name="T1" fmla="*/ 247 h 247"/>
                <a:gd name="T2" fmla="*/ 0 w 94"/>
                <a:gd name="T3" fmla="*/ 240 h 247"/>
                <a:gd name="T4" fmla="*/ 14 w 94"/>
                <a:gd name="T5" fmla="*/ 142 h 247"/>
                <a:gd name="T6" fmla="*/ 29 w 94"/>
                <a:gd name="T7" fmla="*/ 27 h 247"/>
                <a:gd name="T8" fmla="*/ 48 w 94"/>
                <a:gd name="T9" fmla="*/ 5 h 247"/>
                <a:gd name="T10" fmla="*/ 94 w 94"/>
                <a:gd name="T11" fmla="*/ 0 h 247"/>
                <a:gd name="T12" fmla="*/ 82 w 94"/>
                <a:gd name="T13" fmla="*/ 211 h 247"/>
                <a:gd name="T14" fmla="*/ 70 w 94"/>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7">
                  <a:moveTo>
                    <a:pt x="70" y="247"/>
                  </a:moveTo>
                  <a:lnTo>
                    <a:pt x="0" y="240"/>
                  </a:lnTo>
                  <a:lnTo>
                    <a:pt x="14" y="142"/>
                  </a:lnTo>
                  <a:lnTo>
                    <a:pt x="29" y="27"/>
                  </a:lnTo>
                  <a:lnTo>
                    <a:pt x="48" y="5"/>
                  </a:lnTo>
                  <a:lnTo>
                    <a:pt x="94" y="0"/>
                  </a:lnTo>
                  <a:lnTo>
                    <a:pt x="82" y="211"/>
                  </a:lnTo>
                  <a:lnTo>
                    <a:pt x="7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2" name="Freeform 162"/>
            <p:cNvSpPr>
              <a:spLocks/>
            </p:cNvSpPr>
            <p:nvPr/>
          </p:nvSpPr>
          <p:spPr bwMode="auto">
            <a:xfrm>
              <a:off x="1468" y="2456"/>
              <a:ext cx="72" cy="66"/>
            </a:xfrm>
            <a:custGeom>
              <a:avLst/>
              <a:gdLst>
                <a:gd name="T0" fmla="*/ 1 w 77"/>
                <a:gd name="T1" fmla="*/ 33 h 71"/>
                <a:gd name="T2" fmla="*/ 33 w 77"/>
                <a:gd name="T3" fmla="*/ 70 h 71"/>
                <a:gd name="T4" fmla="*/ 76 w 77"/>
                <a:gd name="T5" fmla="*/ 38 h 71"/>
                <a:gd name="T6" fmla="*/ 38 w 77"/>
                <a:gd name="T7" fmla="*/ 1 h 71"/>
                <a:gd name="T8" fmla="*/ 1 w 77"/>
                <a:gd name="T9" fmla="*/ 33 h 71"/>
              </a:gdLst>
              <a:ahLst/>
              <a:cxnLst>
                <a:cxn ang="0">
                  <a:pos x="T0" y="T1"/>
                </a:cxn>
                <a:cxn ang="0">
                  <a:pos x="T2" y="T3"/>
                </a:cxn>
                <a:cxn ang="0">
                  <a:pos x="T4" y="T5"/>
                </a:cxn>
                <a:cxn ang="0">
                  <a:pos x="T6" y="T7"/>
                </a:cxn>
                <a:cxn ang="0">
                  <a:pos x="T8" y="T9"/>
                </a:cxn>
              </a:cxnLst>
              <a:rect l="0" t="0" r="r" b="b"/>
              <a:pathLst>
                <a:path w="77" h="71">
                  <a:moveTo>
                    <a:pt x="1" y="33"/>
                  </a:moveTo>
                  <a:cubicBezTo>
                    <a:pt x="0" y="52"/>
                    <a:pt x="14" y="69"/>
                    <a:pt x="33" y="70"/>
                  </a:cubicBezTo>
                  <a:cubicBezTo>
                    <a:pt x="52" y="71"/>
                    <a:pt x="74" y="57"/>
                    <a:pt x="76" y="38"/>
                  </a:cubicBezTo>
                  <a:cubicBezTo>
                    <a:pt x="77" y="19"/>
                    <a:pt x="57" y="2"/>
                    <a:pt x="38" y="1"/>
                  </a:cubicBezTo>
                  <a:cubicBezTo>
                    <a:pt x="19" y="0"/>
                    <a:pt x="2" y="14"/>
                    <a:pt x="1" y="3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3" name="Freeform 163"/>
            <p:cNvSpPr>
              <a:spLocks/>
            </p:cNvSpPr>
            <p:nvPr/>
          </p:nvSpPr>
          <p:spPr bwMode="auto">
            <a:xfrm>
              <a:off x="1466" y="2487"/>
              <a:ext cx="73" cy="140"/>
            </a:xfrm>
            <a:custGeom>
              <a:avLst/>
              <a:gdLst>
                <a:gd name="T0" fmla="*/ 0 w 73"/>
                <a:gd name="T1" fmla="*/ 137 h 140"/>
                <a:gd name="T2" fmla="*/ 53 w 73"/>
                <a:gd name="T3" fmla="*/ 140 h 140"/>
                <a:gd name="T4" fmla="*/ 73 w 73"/>
                <a:gd name="T5" fmla="*/ 5 h 140"/>
                <a:gd name="T6" fmla="*/ 3 w 73"/>
                <a:gd name="T7" fmla="*/ 0 h 140"/>
                <a:gd name="T8" fmla="*/ 0 w 73"/>
                <a:gd name="T9" fmla="*/ 137 h 140"/>
              </a:gdLst>
              <a:ahLst/>
              <a:cxnLst>
                <a:cxn ang="0">
                  <a:pos x="T0" y="T1"/>
                </a:cxn>
                <a:cxn ang="0">
                  <a:pos x="T2" y="T3"/>
                </a:cxn>
                <a:cxn ang="0">
                  <a:pos x="T4" y="T5"/>
                </a:cxn>
                <a:cxn ang="0">
                  <a:pos x="T6" y="T7"/>
                </a:cxn>
                <a:cxn ang="0">
                  <a:pos x="T8" y="T9"/>
                </a:cxn>
              </a:cxnLst>
              <a:rect l="0" t="0" r="r" b="b"/>
              <a:pathLst>
                <a:path w="73" h="140">
                  <a:moveTo>
                    <a:pt x="0" y="137"/>
                  </a:moveTo>
                  <a:lnTo>
                    <a:pt x="53" y="140"/>
                  </a:lnTo>
                  <a:lnTo>
                    <a:pt x="73" y="5"/>
                  </a:lnTo>
                  <a:lnTo>
                    <a:pt x="3" y="0"/>
                  </a:lnTo>
                  <a:lnTo>
                    <a:pt x="0" y="13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4" name="Freeform 164"/>
            <p:cNvSpPr>
              <a:spLocks/>
            </p:cNvSpPr>
            <p:nvPr/>
          </p:nvSpPr>
          <p:spPr bwMode="auto">
            <a:xfrm>
              <a:off x="1472" y="2757"/>
              <a:ext cx="34" cy="39"/>
            </a:xfrm>
            <a:custGeom>
              <a:avLst/>
              <a:gdLst>
                <a:gd name="T0" fmla="*/ 34 w 34"/>
                <a:gd name="T1" fmla="*/ 39 h 39"/>
                <a:gd name="T2" fmla="*/ 0 w 34"/>
                <a:gd name="T3" fmla="*/ 37 h 39"/>
                <a:gd name="T4" fmla="*/ 2 w 34"/>
                <a:gd name="T5" fmla="*/ 0 h 39"/>
                <a:gd name="T6" fmla="*/ 33 w 34"/>
                <a:gd name="T7" fmla="*/ 1 h 39"/>
                <a:gd name="T8" fmla="*/ 34 w 34"/>
                <a:gd name="T9" fmla="*/ 39 h 39"/>
              </a:gdLst>
              <a:ahLst/>
              <a:cxnLst>
                <a:cxn ang="0">
                  <a:pos x="T0" y="T1"/>
                </a:cxn>
                <a:cxn ang="0">
                  <a:pos x="T2" y="T3"/>
                </a:cxn>
                <a:cxn ang="0">
                  <a:pos x="T4" y="T5"/>
                </a:cxn>
                <a:cxn ang="0">
                  <a:pos x="T6" y="T7"/>
                </a:cxn>
                <a:cxn ang="0">
                  <a:pos x="T8" y="T9"/>
                </a:cxn>
              </a:cxnLst>
              <a:rect l="0" t="0" r="r" b="b"/>
              <a:pathLst>
                <a:path w="34" h="39">
                  <a:moveTo>
                    <a:pt x="34" y="39"/>
                  </a:moveTo>
                  <a:lnTo>
                    <a:pt x="0" y="37"/>
                  </a:lnTo>
                  <a:lnTo>
                    <a:pt x="2" y="0"/>
                  </a:lnTo>
                  <a:lnTo>
                    <a:pt x="33" y="1"/>
                  </a:lnTo>
                  <a:lnTo>
                    <a:pt x="34" y="3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5" name="Freeform 165"/>
            <p:cNvSpPr>
              <a:spLocks/>
            </p:cNvSpPr>
            <p:nvPr/>
          </p:nvSpPr>
          <p:spPr bwMode="auto">
            <a:xfrm>
              <a:off x="1410" y="2777"/>
              <a:ext cx="98" cy="37"/>
            </a:xfrm>
            <a:custGeom>
              <a:avLst/>
              <a:gdLst>
                <a:gd name="T0" fmla="*/ 104 w 105"/>
                <a:gd name="T1" fmla="*/ 39 h 40"/>
                <a:gd name="T2" fmla="*/ 73 w 105"/>
                <a:gd name="T3" fmla="*/ 40 h 40"/>
                <a:gd name="T4" fmla="*/ 72 w 105"/>
                <a:gd name="T5" fmla="*/ 35 h 40"/>
                <a:gd name="T6" fmla="*/ 29 w 105"/>
                <a:gd name="T7" fmla="*/ 40 h 40"/>
                <a:gd name="T8" fmla="*/ 2 w 105"/>
                <a:gd name="T9" fmla="*/ 37 h 40"/>
                <a:gd name="T10" fmla="*/ 0 w 105"/>
                <a:gd name="T11" fmla="*/ 33 h 40"/>
                <a:gd name="T12" fmla="*/ 64 w 105"/>
                <a:gd name="T13" fmla="*/ 0 h 40"/>
                <a:gd name="T14" fmla="*/ 66 w 105"/>
                <a:gd name="T15" fmla="*/ 0 h 40"/>
                <a:gd name="T16" fmla="*/ 81 w 105"/>
                <a:gd name="T17" fmla="*/ 10 h 40"/>
                <a:gd name="T18" fmla="*/ 100 w 105"/>
                <a:gd name="T19" fmla="*/ 0 h 40"/>
                <a:gd name="T20" fmla="*/ 104 w 105"/>
                <a:gd name="T21"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40">
                  <a:moveTo>
                    <a:pt x="104" y="39"/>
                  </a:moveTo>
                  <a:cubicBezTo>
                    <a:pt x="73" y="40"/>
                    <a:pt x="73" y="40"/>
                    <a:pt x="73" y="40"/>
                  </a:cubicBezTo>
                  <a:cubicBezTo>
                    <a:pt x="72" y="35"/>
                    <a:pt x="72" y="35"/>
                    <a:pt x="72" y="35"/>
                  </a:cubicBezTo>
                  <a:cubicBezTo>
                    <a:pt x="62" y="37"/>
                    <a:pt x="40" y="40"/>
                    <a:pt x="29" y="40"/>
                  </a:cubicBezTo>
                  <a:cubicBezTo>
                    <a:pt x="21" y="40"/>
                    <a:pt x="8" y="40"/>
                    <a:pt x="2" y="37"/>
                  </a:cubicBezTo>
                  <a:cubicBezTo>
                    <a:pt x="1" y="36"/>
                    <a:pt x="0" y="34"/>
                    <a:pt x="0" y="33"/>
                  </a:cubicBezTo>
                  <a:cubicBezTo>
                    <a:pt x="1" y="20"/>
                    <a:pt x="51" y="15"/>
                    <a:pt x="64" y="0"/>
                  </a:cubicBezTo>
                  <a:cubicBezTo>
                    <a:pt x="66" y="0"/>
                    <a:pt x="66" y="0"/>
                    <a:pt x="66" y="0"/>
                  </a:cubicBezTo>
                  <a:cubicBezTo>
                    <a:pt x="69" y="3"/>
                    <a:pt x="73" y="10"/>
                    <a:pt x="81" y="10"/>
                  </a:cubicBezTo>
                  <a:cubicBezTo>
                    <a:pt x="89" y="10"/>
                    <a:pt x="97" y="3"/>
                    <a:pt x="100" y="0"/>
                  </a:cubicBezTo>
                  <a:cubicBezTo>
                    <a:pt x="105" y="4"/>
                    <a:pt x="105" y="39"/>
                    <a:pt x="104" y="3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6" name="Freeform 166"/>
            <p:cNvSpPr>
              <a:spLocks/>
            </p:cNvSpPr>
            <p:nvPr/>
          </p:nvSpPr>
          <p:spPr bwMode="auto">
            <a:xfrm>
              <a:off x="1465" y="2598"/>
              <a:ext cx="55" cy="55"/>
            </a:xfrm>
            <a:custGeom>
              <a:avLst/>
              <a:gdLst>
                <a:gd name="T0" fmla="*/ 58 w 59"/>
                <a:gd name="T1" fmla="*/ 31 h 59"/>
                <a:gd name="T2" fmla="*/ 31 w 59"/>
                <a:gd name="T3" fmla="*/ 1 h 59"/>
                <a:gd name="T4" fmla="*/ 1 w 59"/>
                <a:gd name="T5" fmla="*/ 28 h 59"/>
                <a:gd name="T6" fmla="*/ 28 w 59"/>
                <a:gd name="T7" fmla="*/ 59 h 59"/>
                <a:gd name="T8" fmla="*/ 58 w 59"/>
                <a:gd name="T9" fmla="*/ 31 h 59"/>
              </a:gdLst>
              <a:ahLst/>
              <a:cxnLst>
                <a:cxn ang="0">
                  <a:pos x="T0" y="T1"/>
                </a:cxn>
                <a:cxn ang="0">
                  <a:pos x="T2" y="T3"/>
                </a:cxn>
                <a:cxn ang="0">
                  <a:pos x="T4" y="T5"/>
                </a:cxn>
                <a:cxn ang="0">
                  <a:pos x="T6" y="T7"/>
                </a:cxn>
                <a:cxn ang="0">
                  <a:pos x="T8" y="T9"/>
                </a:cxn>
              </a:cxnLst>
              <a:rect l="0" t="0" r="r" b="b"/>
              <a:pathLst>
                <a:path w="59" h="59">
                  <a:moveTo>
                    <a:pt x="58" y="31"/>
                  </a:moveTo>
                  <a:cubicBezTo>
                    <a:pt x="59" y="15"/>
                    <a:pt x="47" y="2"/>
                    <a:pt x="31" y="1"/>
                  </a:cubicBezTo>
                  <a:cubicBezTo>
                    <a:pt x="15" y="0"/>
                    <a:pt x="2" y="13"/>
                    <a:pt x="1" y="28"/>
                  </a:cubicBezTo>
                  <a:cubicBezTo>
                    <a:pt x="0" y="44"/>
                    <a:pt x="12" y="58"/>
                    <a:pt x="28" y="59"/>
                  </a:cubicBezTo>
                  <a:cubicBezTo>
                    <a:pt x="44" y="59"/>
                    <a:pt x="57" y="47"/>
                    <a:pt x="58" y="3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7" name="Freeform 167"/>
            <p:cNvSpPr>
              <a:spLocks/>
            </p:cNvSpPr>
            <p:nvPr/>
          </p:nvSpPr>
          <p:spPr bwMode="auto">
            <a:xfrm>
              <a:off x="1461" y="2624"/>
              <a:ext cx="58" cy="166"/>
            </a:xfrm>
            <a:custGeom>
              <a:avLst/>
              <a:gdLst>
                <a:gd name="T0" fmla="*/ 58 w 58"/>
                <a:gd name="T1" fmla="*/ 3 h 166"/>
                <a:gd name="T2" fmla="*/ 5 w 58"/>
                <a:gd name="T3" fmla="*/ 0 h 166"/>
                <a:gd name="T4" fmla="*/ 0 w 58"/>
                <a:gd name="T5" fmla="*/ 161 h 166"/>
                <a:gd name="T6" fmla="*/ 49 w 58"/>
                <a:gd name="T7" fmla="*/ 166 h 166"/>
                <a:gd name="T8" fmla="*/ 58 w 58"/>
                <a:gd name="T9" fmla="*/ 3 h 166"/>
              </a:gdLst>
              <a:ahLst/>
              <a:cxnLst>
                <a:cxn ang="0">
                  <a:pos x="T0" y="T1"/>
                </a:cxn>
                <a:cxn ang="0">
                  <a:pos x="T2" y="T3"/>
                </a:cxn>
                <a:cxn ang="0">
                  <a:pos x="T4" y="T5"/>
                </a:cxn>
                <a:cxn ang="0">
                  <a:pos x="T6" y="T7"/>
                </a:cxn>
                <a:cxn ang="0">
                  <a:pos x="T8" y="T9"/>
                </a:cxn>
              </a:cxnLst>
              <a:rect l="0" t="0" r="r" b="b"/>
              <a:pathLst>
                <a:path w="58" h="166">
                  <a:moveTo>
                    <a:pt x="58" y="3"/>
                  </a:moveTo>
                  <a:lnTo>
                    <a:pt x="5" y="0"/>
                  </a:lnTo>
                  <a:lnTo>
                    <a:pt x="0" y="161"/>
                  </a:lnTo>
                  <a:lnTo>
                    <a:pt x="49" y="166"/>
                  </a:lnTo>
                  <a:lnTo>
                    <a:pt x="58" y="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8" name="Freeform 168"/>
            <p:cNvSpPr>
              <a:spLocks/>
            </p:cNvSpPr>
            <p:nvPr/>
          </p:nvSpPr>
          <p:spPr bwMode="auto">
            <a:xfrm>
              <a:off x="1537" y="2755"/>
              <a:ext cx="34" cy="38"/>
            </a:xfrm>
            <a:custGeom>
              <a:avLst/>
              <a:gdLst>
                <a:gd name="T0" fmla="*/ 0 w 34"/>
                <a:gd name="T1" fmla="*/ 37 h 38"/>
                <a:gd name="T2" fmla="*/ 33 w 34"/>
                <a:gd name="T3" fmla="*/ 38 h 38"/>
                <a:gd name="T4" fmla="*/ 34 w 34"/>
                <a:gd name="T5" fmla="*/ 0 h 38"/>
                <a:gd name="T6" fmla="*/ 3 w 34"/>
                <a:gd name="T7" fmla="*/ 0 h 38"/>
                <a:gd name="T8" fmla="*/ 0 w 34"/>
                <a:gd name="T9" fmla="*/ 37 h 38"/>
              </a:gdLst>
              <a:ahLst/>
              <a:cxnLst>
                <a:cxn ang="0">
                  <a:pos x="T0" y="T1"/>
                </a:cxn>
                <a:cxn ang="0">
                  <a:pos x="T2" y="T3"/>
                </a:cxn>
                <a:cxn ang="0">
                  <a:pos x="T4" y="T5"/>
                </a:cxn>
                <a:cxn ang="0">
                  <a:pos x="T6" y="T7"/>
                </a:cxn>
                <a:cxn ang="0">
                  <a:pos x="T8" y="T9"/>
                </a:cxn>
              </a:cxnLst>
              <a:rect l="0" t="0" r="r" b="b"/>
              <a:pathLst>
                <a:path w="34" h="38">
                  <a:moveTo>
                    <a:pt x="0" y="37"/>
                  </a:moveTo>
                  <a:lnTo>
                    <a:pt x="33" y="38"/>
                  </a:lnTo>
                  <a:lnTo>
                    <a:pt x="34" y="0"/>
                  </a:lnTo>
                  <a:lnTo>
                    <a:pt x="3" y="0"/>
                  </a:lnTo>
                  <a:lnTo>
                    <a:pt x="0" y="37"/>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9" name="Freeform 169"/>
            <p:cNvSpPr>
              <a:spLocks/>
            </p:cNvSpPr>
            <p:nvPr/>
          </p:nvSpPr>
          <p:spPr bwMode="auto">
            <a:xfrm>
              <a:off x="1533" y="2778"/>
              <a:ext cx="99" cy="38"/>
            </a:xfrm>
            <a:custGeom>
              <a:avLst/>
              <a:gdLst>
                <a:gd name="T0" fmla="*/ 1 w 106"/>
                <a:gd name="T1" fmla="*/ 38 h 41"/>
                <a:gd name="T2" fmla="*/ 32 w 106"/>
                <a:gd name="T3" fmla="*/ 39 h 41"/>
                <a:gd name="T4" fmla="*/ 34 w 106"/>
                <a:gd name="T5" fmla="*/ 35 h 41"/>
                <a:gd name="T6" fmla="*/ 76 w 106"/>
                <a:gd name="T7" fmla="*/ 41 h 41"/>
                <a:gd name="T8" fmla="*/ 103 w 106"/>
                <a:gd name="T9" fmla="*/ 38 h 41"/>
                <a:gd name="T10" fmla="*/ 105 w 106"/>
                <a:gd name="T11" fmla="*/ 34 h 41"/>
                <a:gd name="T12" fmla="*/ 42 w 106"/>
                <a:gd name="T13" fmla="*/ 0 h 41"/>
                <a:gd name="T14" fmla="*/ 40 w 106"/>
                <a:gd name="T15" fmla="*/ 0 h 41"/>
                <a:gd name="T16" fmla="*/ 25 w 106"/>
                <a:gd name="T17" fmla="*/ 10 h 41"/>
                <a:gd name="T18" fmla="*/ 6 w 106"/>
                <a:gd name="T19" fmla="*/ 0 h 41"/>
                <a:gd name="T20" fmla="*/ 1 w 106"/>
                <a:gd name="T21"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41">
                  <a:moveTo>
                    <a:pt x="1" y="38"/>
                  </a:moveTo>
                  <a:cubicBezTo>
                    <a:pt x="32" y="39"/>
                    <a:pt x="32" y="39"/>
                    <a:pt x="32" y="39"/>
                  </a:cubicBezTo>
                  <a:cubicBezTo>
                    <a:pt x="34" y="35"/>
                    <a:pt x="34" y="35"/>
                    <a:pt x="34" y="35"/>
                  </a:cubicBezTo>
                  <a:cubicBezTo>
                    <a:pt x="43" y="37"/>
                    <a:pt x="66" y="40"/>
                    <a:pt x="76" y="41"/>
                  </a:cubicBezTo>
                  <a:cubicBezTo>
                    <a:pt x="85" y="41"/>
                    <a:pt x="97" y="41"/>
                    <a:pt x="103" y="38"/>
                  </a:cubicBezTo>
                  <a:cubicBezTo>
                    <a:pt x="104" y="37"/>
                    <a:pt x="106" y="35"/>
                    <a:pt x="105" y="34"/>
                  </a:cubicBezTo>
                  <a:cubicBezTo>
                    <a:pt x="104" y="21"/>
                    <a:pt x="54" y="15"/>
                    <a:pt x="42" y="0"/>
                  </a:cubicBezTo>
                  <a:cubicBezTo>
                    <a:pt x="40" y="0"/>
                    <a:pt x="40" y="0"/>
                    <a:pt x="40" y="0"/>
                  </a:cubicBezTo>
                  <a:cubicBezTo>
                    <a:pt x="37" y="3"/>
                    <a:pt x="33" y="10"/>
                    <a:pt x="25" y="10"/>
                  </a:cubicBezTo>
                  <a:cubicBezTo>
                    <a:pt x="17" y="10"/>
                    <a:pt x="9" y="2"/>
                    <a:pt x="6" y="0"/>
                  </a:cubicBezTo>
                  <a:cubicBezTo>
                    <a:pt x="1" y="3"/>
                    <a:pt x="0" y="38"/>
                    <a:pt x="1" y="3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0" name="Freeform 170"/>
            <p:cNvSpPr>
              <a:spLocks/>
            </p:cNvSpPr>
            <p:nvPr/>
          </p:nvSpPr>
          <p:spPr bwMode="auto">
            <a:xfrm>
              <a:off x="1536" y="2596"/>
              <a:ext cx="54" cy="55"/>
            </a:xfrm>
            <a:custGeom>
              <a:avLst/>
              <a:gdLst>
                <a:gd name="T0" fmla="*/ 0 w 58"/>
                <a:gd name="T1" fmla="*/ 29 h 59"/>
                <a:gd name="T2" fmla="*/ 30 w 58"/>
                <a:gd name="T3" fmla="*/ 1 h 59"/>
                <a:gd name="T4" fmla="*/ 58 w 58"/>
                <a:gd name="T5" fmla="*/ 30 h 59"/>
                <a:gd name="T6" fmla="*/ 28 w 58"/>
                <a:gd name="T7" fmla="*/ 58 h 59"/>
                <a:gd name="T8" fmla="*/ 0 w 58"/>
                <a:gd name="T9" fmla="*/ 29 h 59"/>
              </a:gdLst>
              <a:ahLst/>
              <a:cxnLst>
                <a:cxn ang="0">
                  <a:pos x="T0" y="T1"/>
                </a:cxn>
                <a:cxn ang="0">
                  <a:pos x="T2" y="T3"/>
                </a:cxn>
                <a:cxn ang="0">
                  <a:pos x="T4" y="T5"/>
                </a:cxn>
                <a:cxn ang="0">
                  <a:pos x="T6" y="T7"/>
                </a:cxn>
                <a:cxn ang="0">
                  <a:pos x="T8" y="T9"/>
                </a:cxn>
              </a:cxnLst>
              <a:rect l="0" t="0" r="r" b="b"/>
              <a:pathLst>
                <a:path w="58" h="59">
                  <a:moveTo>
                    <a:pt x="0" y="29"/>
                  </a:moveTo>
                  <a:cubicBezTo>
                    <a:pt x="1" y="13"/>
                    <a:pt x="14" y="0"/>
                    <a:pt x="30" y="1"/>
                  </a:cubicBezTo>
                  <a:cubicBezTo>
                    <a:pt x="46" y="1"/>
                    <a:pt x="58" y="14"/>
                    <a:pt x="58" y="30"/>
                  </a:cubicBezTo>
                  <a:cubicBezTo>
                    <a:pt x="57" y="46"/>
                    <a:pt x="44" y="59"/>
                    <a:pt x="28" y="58"/>
                  </a:cubicBezTo>
                  <a:cubicBezTo>
                    <a:pt x="13" y="58"/>
                    <a:pt x="0" y="45"/>
                    <a:pt x="0" y="2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1" name="Freeform 171"/>
            <p:cNvSpPr>
              <a:spLocks/>
            </p:cNvSpPr>
            <p:nvPr/>
          </p:nvSpPr>
          <p:spPr bwMode="auto">
            <a:xfrm>
              <a:off x="1534" y="2623"/>
              <a:ext cx="56" cy="164"/>
            </a:xfrm>
            <a:custGeom>
              <a:avLst/>
              <a:gdLst>
                <a:gd name="T0" fmla="*/ 2 w 56"/>
                <a:gd name="T1" fmla="*/ 0 h 164"/>
                <a:gd name="T2" fmla="*/ 56 w 56"/>
                <a:gd name="T3" fmla="*/ 1 h 164"/>
                <a:gd name="T4" fmla="*/ 48 w 56"/>
                <a:gd name="T5" fmla="*/ 161 h 164"/>
                <a:gd name="T6" fmla="*/ 0 w 56"/>
                <a:gd name="T7" fmla="*/ 164 h 164"/>
                <a:gd name="T8" fmla="*/ 2 w 56"/>
                <a:gd name="T9" fmla="*/ 0 h 164"/>
              </a:gdLst>
              <a:ahLst/>
              <a:cxnLst>
                <a:cxn ang="0">
                  <a:pos x="T0" y="T1"/>
                </a:cxn>
                <a:cxn ang="0">
                  <a:pos x="T2" y="T3"/>
                </a:cxn>
                <a:cxn ang="0">
                  <a:pos x="T4" y="T5"/>
                </a:cxn>
                <a:cxn ang="0">
                  <a:pos x="T6" y="T7"/>
                </a:cxn>
                <a:cxn ang="0">
                  <a:pos x="T8" y="T9"/>
                </a:cxn>
              </a:cxnLst>
              <a:rect l="0" t="0" r="r" b="b"/>
              <a:pathLst>
                <a:path w="56" h="164">
                  <a:moveTo>
                    <a:pt x="2" y="0"/>
                  </a:moveTo>
                  <a:lnTo>
                    <a:pt x="56" y="1"/>
                  </a:lnTo>
                  <a:lnTo>
                    <a:pt x="48" y="161"/>
                  </a:lnTo>
                  <a:lnTo>
                    <a:pt x="0" y="164"/>
                  </a:lnTo>
                  <a:lnTo>
                    <a:pt x="2"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2" name="Freeform 172"/>
            <p:cNvSpPr>
              <a:spLocks/>
            </p:cNvSpPr>
            <p:nvPr/>
          </p:nvSpPr>
          <p:spPr bwMode="auto">
            <a:xfrm>
              <a:off x="1591" y="2266"/>
              <a:ext cx="77" cy="69"/>
            </a:xfrm>
            <a:custGeom>
              <a:avLst/>
              <a:gdLst>
                <a:gd name="T0" fmla="*/ 77 w 77"/>
                <a:gd name="T1" fmla="*/ 44 h 69"/>
                <a:gd name="T2" fmla="*/ 65 w 77"/>
                <a:gd name="T3" fmla="*/ 0 h 69"/>
                <a:gd name="T4" fmla="*/ 0 w 77"/>
                <a:gd name="T5" fmla="*/ 9 h 69"/>
                <a:gd name="T6" fmla="*/ 19 w 77"/>
                <a:gd name="T7" fmla="*/ 69 h 69"/>
                <a:gd name="T8" fmla="*/ 77 w 77"/>
                <a:gd name="T9" fmla="*/ 44 h 69"/>
              </a:gdLst>
              <a:ahLst/>
              <a:cxnLst>
                <a:cxn ang="0">
                  <a:pos x="T0" y="T1"/>
                </a:cxn>
                <a:cxn ang="0">
                  <a:pos x="T2" y="T3"/>
                </a:cxn>
                <a:cxn ang="0">
                  <a:pos x="T4" y="T5"/>
                </a:cxn>
                <a:cxn ang="0">
                  <a:pos x="T6" y="T7"/>
                </a:cxn>
                <a:cxn ang="0">
                  <a:pos x="T8" y="T9"/>
                </a:cxn>
              </a:cxnLst>
              <a:rect l="0" t="0" r="r" b="b"/>
              <a:pathLst>
                <a:path w="77" h="69">
                  <a:moveTo>
                    <a:pt x="77" y="44"/>
                  </a:moveTo>
                  <a:lnTo>
                    <a:pt x="65" y="0"/>
                  </a:lnTo>
                  <a:lnTo>
                    <a:pt x="0" y="9"/>
                  </a:lnTo>
                  <a:lnTo>
                    <a:pt x="19" y="69"/>
                  </a:lnTo>
                  <a:lnTo>
                    <a:pt x="77" y="4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3" name="Freeform 173"/>
            <p:cNvSpPr>
              <a:spLocks/>
            </p:cNvSpPr>
            <p:nvPr/>
          </p:nvSpPr>
          <p:spPr bwMode="auto">
            <a:xfrm>
              <a:off x="1565" y="2270"/>
              <a:ext cx="71" cy="70"/>
            </a:xfrm>
            <a:custGeom>
              <a:avLst/>
              <a:gdLst>
                <a:gd name="T0" fmla="*/ 49 w 77"/>
                <a:gd name="T1" fmla="*/ 70 h 76"/>
                <a:gd name="T2" fmla="*/ 6 w 77"/>
                <a:gd name="T3" fmla="*/ 49 h 76"/>
                <a:gd name="T4" fmla="*/ 28 w 77"/>
                <a:gd name="T5" fmla="*/ 6 h 76"/>
                <a:gd name="T6" fmla="*/ 71 w 77"/>
                <a:gd name="T7" fmla="*/ 27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2" y="76"/>
                    <a:pt x="12" y="67"/>
                    <a:pt x="6" y="49"/>
                  </a:cubicBezTo>
                  <a:cubicBezTo>
                    <a:pt x="0" y="31"/>
                    <a:pt x="10" y="12"/>
                    <a:pt x="28" y="6"/>
                  </a:cubicBezTo>
                  <a:cubicBezTo>
                    <a:pt x="46" y="0"/>
                    <a:pt x="65" y="9"/>
                    <a:pt x="71" y="27"/>
                  </a:cubicBezTo>
                  <a:cubicBezTo>
                    <a:pt x="77" y="45"/>
                    <a:pt x="67" y="64"/>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4" name="Freeform 174"/>
            <p:cNvSpPr>
              <a:spLocks/>
            </p:cNvSpPr>
            <p:nvPr/>
          </p:nvSpPr>
          <p:spPr bwMode="auto">
            <a:xfrm>
              <a:off x="1532" y="2268"/>
              <a:ext cx="86" cy="252"/>
            </a:xfrm>
            <a:custGeom>
              <a:avLst/>
              <a:gdLst>
                <a:gd name="T0" fmla="*/ 0 w 86"/>
                <a:gd name="T1" fmla="*/ 247 h 252"/>
                <a:gd name="T2" fmla="*/ 65 w 86"/>
                <a:gd name="T3" fmla="*/ 252 h 252"/>
                <a:gd name="T4" fmla="*/ 86 w 86"/>
                <a:gd name="T5" fmla="*/ 46 h 252"/>
                <a:gd name="T6" fmla="*/ 77 w 86"/>
                <a:gd name="T7" fmla="*/ 6 h 252"/>
                <a:gd name="T8" fmla="*/ 18 w 86"/>
                <a:gd name="T9" fmla="*/ 0 h 252"/>
                <a:gd name="T10" fmla="*/ 6 w 86"/>
                <a:gd name="T11" fmla="*/ 211 h 252"/>
                <a:gd name="T12" fmla="*/ 0 w 86"/>
                <a:gd name="T13" fmla="*/ 247 h 252"/>
              </a:gdLst>
              <a:ahLst/>
              <a:cxnLst>
                <a:cxn ang="0">
                  <a:pos x="T0" y="T1"/>
                </a:cxn>
                <a:cxn ang="0">
                  <a:pos x="T2" y="T3"/>
                </a:cxn>
                <a:cxn ang="0">
                  <a:pos x="T4" y="T5"/>
                </a:cxn>
                <a:cxn ang="0">
                  <a:pos x="T6" y="T7"/>
                </a:cxn>
                <a:cxn ang="0">
                  <a:pos x="T8" y="T9"/>
                </a:cxn>
                <a:cxn ang="0">
                  <a:pos x="T10" y="T11"/>
                </a:cxn>
                <a:cxn ang="0">
                  <a:pos x="T12" y="T13"/>
                </a:cxn>
              </a:cxnLst>
              <a:rect l="0" t="0" r="r" b="b"/>
              <a:pathLst>
                <a:path w="86" h="252">
                  <a:moveTo>
                    <a:pt x="0" y="247"/>
                  </a:moveTo>
                  <a:lnTo>
                    <a:pt x="65" y="252"/>
                  </a:lnTo>
                  <a:lnTo>
                    <a:pt x="86" y="46"/>
                  </a:lnTo>
                  <a:lnTo>
                    <a:pt x="77" y="6"/>
                  </a:lnTo>
                  <a:lnTo>
                    <a:pt x="18" y="0"/>
                  </a:lnTo>
                  <a:lnTo>
                    <a:pt x="6" y="211"/>
                  </a:lnTo>
                  <a:lnTo>
                    <a:pt x="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5" name="Freeform 175"/>
            <p:cNvSpPr>
              <a:spLocks/>
            </p:cNvSpPr>
            <p:nvPr/>
          </p:nvSpPr>
          <p:spPr bwMode="auto">
            <a:xfrm>
              <a:off x="1528" y="2236"/>
              <a:ext cx="45" cy="52"/>
            </a:xfrm>
            <a:custGeom>
              <a:avLst/>
              <a:gdLst>
                <a:gd name="T0" fmla="*/ 45 w 48"/>
                <a:gd name="T1" fmla="*/ 40 h 57"/>
                <a:gd name="T2" fmla="*/ 48 w 48"/>
                <a:gd name="T3" fmla="*/ 4 h 57"/>
                <a:gd name="T4" fmla="*/ 4 w 48"/>
                <a:gd name="T5" fmla="*/ 0 h 57"/>
                <a:gd name="T6" fmla="*/ 1 w 48"/>
                <a:gd name="T7" fmla="*/ 36 h 57"/>
                <a:gd name="T8" fmla="*/ 21 w 48"/>
                <a:gd name="T9" fmla="*/ 55 h 57"/>
                <a:gd name="T10" fmla="*/ 45 w 48"/>
                <a:gd name="T11" fmla="*/ 40 h 57"/>
              </a:gdLst>
              <a:ahLst/>
              <a:cxnLst>
                <a:cxn ang="0">
                  <a:pos x="T0" y="T1"/>
                </a:cxn>
                <a:cxn ang="0">
                  <a:pos x="T2" y="T3"/>
                </a:cxn>
                <a:cxn ang="0">
                  <a:pos x="T4" y="T5"/>
                </a:cxn>
                <a:cxn ang="0">
                  <a:pos x="T6" y="T7"/>
                </a:cxn>
                <a:cxn ang="0">
                  <a:pos x="T8" y="T9"/>
                </a:cxn>
                <a:cxn ang="0">
                  <a:pos x="T10" y="T11"/>
                </a:cxn>
              </a:cxnLst>
              <a:rect l="0" t="0" r="r" b="b"/>
              <a:pathLst>
                <a:path w="48" h="57">
                  <a:moveTo>
                    <a:pt x="45" y="40"/>
                  </a:moveTo>
                  <a:cubicBezTo>
                    <a:pt x="48" y="4"/>
                    <a:pt x="48" y="4"/>
                    <a:pt x="48" y="4"/>
                  </a:cubicBezTo>
                  <a:cubicBezTo>
                    <a:pt x="4" y="0"/>
                    <a:pt x="4" y="0"/>
                    <a:pt x="4" y="0"/>
                  </a:cubicBezTo>
                  <a:cubicBezTo>
                    <a:pt x="1" y="36"/>
                    <a:pt x="1" y="36"/>
                    <a:pt x="1" y="36"/>
                  </a:cubicBezTo>
                  <a:cubicBezTo>
                    <a:pt x="0" y="45"/>
                    <a:pt x="5" y="54"/>
                    <a:pt x="21" y="55"/>
                  </a:cubicBezTo>
                  <a:cubicBezTo>
                    <a:pt x="37" y="57"/>
                    <a:pt x="44" y="48"/>
                    <a:pt x="45" y="4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6" name="Freeform 176"/>
            <p:cNvSpPr>
              <a:spLocks/>
            </p:cNvSpPr>
            <p:nvPr/>
          </p:nvSpPr>
          <p:spPr bwMode="auto">
            <a:xfrm>
              <a:off x="1528" y="2228"/>
              <a:ext cx="45" cy="41"/>
            </a:xfrm>
            <a:custGeom>
              <a:avLst/>
              <a:gdLst>
                <a:gd name="T0" fmla="*/ 0 w 48"/>
                <a:gd name="T1" fmla="*/ 9 h 44"/>
                <a:gd name="T2" fmla="*/ 45 w 48"/>
                <a:gd name="T3" fmla="*/ 44 h 44"/>
                <a:gd name="T4" fmla="*/ 48 w 48"/>
                <a:gd name="T5" fmla="*/ 10 h 44"/>
                <a:gd name="T6" fmla="*/ 0 w 48"/>
                <a:gd name="T7" fmla="*/ 0 h 44"/>
                <a:gd name="T8" fmla="*/ 0 w 48"/>
                <a:gd name="T9" fmla="*/ 9 h 44"/>
              </a:gdLst>
              <a:ahLst/>
              <a:cxnLst>
                <a:cxn ang="0">
                  <a:pos x="T0" y="T1"/>
                </a:cxn>
                <a:cxn ang="0">
                  <a:pos x="T2" y="T3"/>
                </a:cxn>
                <a:cxn ang="0">
                  <a:pos x="T4" y="T5"/>
                </a:cxn>
                <a:cxn ang="0">
                  <a:pos x="T6" y="T7"/>
                </a:cxn>
                <a:cxn ang="0">
                  <a:pos x="T8" y="T9"/>
                </a:cxn>
              </a:cxnLst>
              <a:rect l="0" t="0" r="r" b="b"/>
              <a:pathLst>
                <a:path w="48" h="44">
                  <a:moveTo>
                    <a:pt x="0" y="9"/>
                  </a:moveTo>
                  <a:cubicBezTo>
                    <a:pt x="12" y="27"/>
                    <a:pt x="24" y="36"/>
                    <a:pt x="45" y="44"/>
                  </a:cubicBezTo>
                  <a:cubicBezTo>
                    <a:pt x="48" y="10"/>
                    <a:pt x="48" y="10"/>
                    <a:pt x="48" y="10"/>
                  </a:cubicBezTo>
                  <a:cubicBezTo>
                    <a:pt x="0" y="0"/>
                    <a:pt x="0" y="0"/>
                    <a:pt x="0" y="0"/>
                  </a:cubicBezTo>
                  <a:lnTo>
                    <a:pt x="0" y="9"/>
                  </a:ln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7" name="Freeform 177"/>
            <p:cNvSpPr>
              <a:spLocks/>
            </p:cNvSpPr>
            <p:nvPr/>
          </p:nvSpPr>
          <p:spPr bwMode="auto">
            <a:xfrm>
              <a:off x="1499" y="2168"/>
              <a:ext cx="96" cy="104"/>
            </a:xfrm>
            <a:custGeom>
              <a:avLst/>
              <a:gdLst>
                <a:gd name="T0" fmla="*/ 101 w 103"/>
                <a:gd name="T1" fmla="*/ 70 h 112"/>
                <a:gd name="T2" fmla="*/ 91 w 103"/>
                <a:gd name="T3" fmla="*/ 48 h 112"/>
                <a:gd name="T4" fmla="*/ 92 w 103"/>
                <a:gd name="T5" fmla="*/ 45 h 112"/>
                <a:gd name="T6" fmla="*/ 97 w 103"/>
                <a:gd name="T7" fmla="*/ 43 h 112"/>
                <a:gd name="T8" fmla="*/ 98 w 103"/>
                <a:gd name="T9" fmla="*/ 39 h 112"/>
                <a:gd name="T10" fmla="*/ 87 w 103"/>
                <a:gd name="T11" fmla="*/ 25 h 112"/>
                <a:gd name="T12" fmla="*/ 84 w 103"/>
                <a:gd name="T13" fmla="*/ 21 h 112"/>
                <a:gd name="T14" fmla="*/ 75 w 103"/>
                <a:gd name="T15" fmla="*/ 0 h 112"/>
                <a:gd name="T16" fmla="*/ 6 w 103"/>
                <a:gd name="T17" fmla="*/ 15 h 112"/>
                <a:gd name="T18" fmla="*/ 8 w 103"/>
                <a:gd name="T19" fmla="*/ 25 h 112"/>
                <a:gd name="T20" fmla="*/ 0 w 103"/>
                <a:gd name="T21" fmla="*/ 27 h 112"/>
                <a:gd name="T22" fmla="*/ 98 w 103"/>
                <a:gd name="T23" fmla="*/ 77 h 112"/>
                <a:gd name="T24" fmla="*/ 101 w 103"/>
                <a:gd name="T25"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12">
                  <a:moveTo>
                    <a:pt x="101" y="70"/>
                  </a:moveTo>
                  <a:cubicBezTo>
                    <a:pt x="95" y="64"/>
                    <a:pt x="91" y="48"/>
                    <a:pt x="91" y="48"/>
                  </a:cubicBezTo>
                  <a:cubicBezTo>
                    <a:pt x="90" y="46"/>
                    <a:pt x="91" y="45"/>
                    <a:pt x="92" y="45"/>
                  </a:cubicBezTo>
                  <a:cubicBezTo>
                    <a:pt x="97" y="43"/>
                    <a:pt x="97" y="43"/>
                    <a:pt x="97" y="43"/>
                  </a:cubicBezTo>
                  <a:cubicBezTo>
                    <a:pt x="98" y="42"/>
                    <a:pt x="99" y="40"/>
                    <a:pt x="98" y="39"/>
                  </a:cubicBezTo>
                  <a:cubicBezTo>
                    <a:pt x="87" y="25"/>
                    <a:pt x="87" y="25"/>
                    <a:pt x="87" y="25"/>
                  </a:cubicBezTo>
                  <a:cubicBezTo>
                    <a:pt x="86" y="24"/>
                    <a:pt x="85" y="23"/>
                    <a:pt x="84" y="21"/>
                  </a:cubicBezTo>
                  <a:cubicBezTo>
                    <a:pt x="75" y="0"/>
                    <a:pt x="75" y="0"/>
                    <a:pt x="75" y="0"/>
                  </a:cubicBezTo>
                  <a:cubicBezTo>
                    <a:pt x="6" y="15"/>
                    <a:pt x="6" y="15"/>
                    <a:pt x="6" y="15"/>
                  </a:cubicBezTo>
                  <a:cubicBezTo>
                    <a:pt x="8" y="25"/>
                    <a:pt x="8" y="25"/>
                    <a:pt x="8" y="25"/>
                  </a:cubicBezTo>
                  <a:cubicBezTo>
                    <a:pt x="0" y="27"/>
                    <a:pt x="0" y="27"/>
                    <a:pt x="0" y="27"/>
                  </a:cubicBezTo>
                  <a:cubicBezTo>
                    <a:pt x="0" y="27"/>
                    <a:pt x="2" y="112"/>
                    <a:pt x="98" y="77"/>
                  </a:cubicBezTo>
                  <a:cubicBezTo>
                    <a:pt x="101" y="76"/>
                    <a:pt x="103" y="73"/>
                    <a:pt x="101" y="7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8" name="Freeform 178"/>
            <p:cNvSpPr>
              <a:spLocks/>
            </p:cNvSpPr>
            <p:nvPr/>
          </p:nvSpPr>
          <p:spPr bwMode="auto">
            <a:xfrm>
              <a:off x="1493" y="2144"/>
              <a:ext cx="84" cy="100"/>
            </a:xfrm>
            <a:custGeom>
              <a:avLst/>
              <a:gdLst>
                <a:gd name="T0" fmla="*/ 16 w 90"/>
                <a:gd name="T1" fmla="*/ 24 h 108"/>
                <a:gd name="T2" fmla="*/ 63 w 90"/>
                <a:gd name="T3" fmla="*/ 2 h 108"/>
                <a:gd name="T4" fmla="*/ 87 w 90"/>
                <a:gd name="T5" fmla="*/ 13 h 108"/>
                <a:gd name="T6" fmla="*/ 67 w 90"/>
                <a:gd name="T7" fmla="*/ 32 h 108"/>
                <a:gd name="T8" fmla="*/ 57 w 90"/>
                <a:gd name="T9" fmla="*/ 34 h 108"/>
                <a:gd name="T10" fmla="*/ 53 w 90"/>
                <a:gd name="T11" fmla="*/ 43 h 108"/>
                <a:gd name="T12" fmla="*/ 63 w 90"/>
                <a:gd name="T13" fmla="*/ 64 h 108"/>
                <a:gd name="T14" fmla="*/ 58 w 90"/>
                <a:gd name="T15" fmla="*/ 67 h 108"/>
                <a:gd name="T16" fmla="*/ 55 w 90"/>
                <a:gd name="T17" fmla="*/ 67 h 108"/>
                <a:gd name="T18" fmla="*/ 39 w 90"/>
                <a:gd name="T19" fmla="*/ 60 h 108"/>
                <a:gd name="T20" fmla="*/ 39 w 90"/>
                <a:gd name="T21" fmla="*/ 76 h 108"/>
                <a:gd name="T22" fmla="*/ 49 w 90"/>
                <a:gd name="T23" fmla="*/ 85 h 108"/>
                <a:gd name="T24" fmla="*/ 41 w 90"/>
                <a:gd name="T25" fmla="*/ 108 h 108"/>
                <a:gd name="T26" fmla="*/ 8 w 90"/>
                <a:gd name="T27" fmla="*/ 78 h 108"/>
                <a:gd name="T28" fmla="*/ 9 w 90"/>
                <a:gd name="T29" fmla="*/ 33 h 108"/>
                <a:gd name="T30" fmla="*/ 16 w 90"/>
                <a:gd name="T31"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8">
                  <a:moveTo>
                    <a:pt x="16" y="24"/>
                  </a:moveTo>
                  <a:cubicBezTo>
                    <a:pt x="26" y="15"/>
                    <a:pt x="44" y="6"/>
                    <a:pt x="63" y="2"/>
                  </a:cubicBezTo>
                  <a:cubicBezTo>
                    <a:pt x="74" y="0"/>
                    <a:pt x="85" y="2"/>
                    <a:pt x="87" y="13"/>
                  </a:cubicBezTo>
                  <a:cubicBezTo>
                    <a:pt x="90" y="28"/>
                    <a:pt x="74" y="31"/>
                    <a:pt x="67" y="32"/>
                  </a:cubicBezTo>
                  <a:cubicBezTo>
                    <a:pt x="57" y="34"/>
                    <a:pt x="57" y="34"/>
                    <a:pt x="57" y="34"/>
                  </a:cubicBezTo>
                  <a:cubicBezTo>
                    <a:pt x="54" y="35"/>
                    <a:pt x="51" y="39"/>
                    <a:pt x="53" y="43"/>
                  </a:cubicBezTo>
                  <a:cubicBezTo>
                    <a:pt x="63" y="64"/>
                    <a:pt x="63" y="64"/>
                    <a:pt x="63" y="64"/>
                  </a:cubicBezTo>
                  <a:cubicBezTo>
                    <a:pt x="58" y="67"/>
                    <a:pt x="58" y="67"/>
                    <a:pt x="58" y="67"/>
                  </a:cubicBezTo>
                  <a:cubicBezTo>
                    <a:pt x="57" y="68"/>
                    <a:pt x="56" y="68"/>
                    <a:pt x="55" y="67"/>
                  </a:cubicBezTo>
                  <a:cubicBezTo>
                    <a:pt x="52" y="63"/>
                    <a:pt x="46" y="56"/>
                    <a:pt x="39" y="60"/>
                  </a:cubicBezTo>
                  <a:cubicBezTo>
                    <a:pt x="32" y="65"/>
                    <a:pt x="35" y="72"/>
                    <a:pt x="39" y="76"/>
                  </a:cubicBezTo>
                  <a:cubicBezTo>
                    <a:pt x="43" y="79"/>
                    <a:pt x="48" y="80"/>
                    <a:pt x="49" y="85"/>
                  </a:cubicBezTo>
                  <a:cubicBezTo>
                    <a:pt x="50" y="87"/>
                    <a:pt x="55" y="101"/>
                    <a:pt x="41" y="108"/>
                  </a:cubicBezTo>
                  <a:cubicBezTo>
                    <a:pt x="23" y="102"/>
                    <a:pt x="13" y="89"/>
                    <a:pt x="8" y="78"/>
                  </a:cubicBezTo>
                  <a:cubicBezTo>
                    <a:pt x="0" y="64"/>
                    <a:pt x="1" y="47"/>
                    <a:pt x="9" y="33"/>
                  </a:cubicBezTo>
                  <a:cubicBezTo>
                    <a:pt x="11" y="29"/>
                    <a:pt x="13" y="26"/>
                    <a:pt x="16" y="24"/>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9" name="Freeform 179"/>
            <p:cNvSpPr>
              <a:spLocks/>
            </p:cNvSpPr>
            <p:nvPr/>
          </p:nvSpPr>
          <p:spPr bwMode="auto">
            <a:xfrm>
              <a:off x="1566" y="2191"/>
              <a:ext cx="6" cy="6"/>
            </a:xfrm>
            <a:custGeom>
              <a:avLst/>
              <a:gdLst>
                <a:gd name="T0" fmla="*/ 7 w 7"/>
                <a:gd name="T1" fmla="*/ 2 h 6"/>
                <a:gd name="T2" fmla="*/ 4 w 7"/>
                <a:gd name="T3" fmla="*/ 6 h 6"/>
                <a:gd name="T4" fmla="*/ 1 w 7"/>
                <a:gd name="T5" fmla="*/ 3 h 6"/>
                <a:gd name="T6" fmla="*/ 3 w 7"/>
                <a:gd name="T7" fmla="*/ 0 h 6"/>
                <a:gd name="T8" fmla="*/ 7 w 7"/>
                <a:gd name="T9" fmla="*/ 2 h 6"/>
              </a:gdLst>
              <a:ahLst/>
              <a:cxnLst>
                <a:cxn ang="0">
                  <a:pos x="T0" y="T1"/>
                </a:cxn>
                <a:cxn ang="0">
                  <a:pos x="T2" y="T3"/>
                </a:cxn>
                <a:cxn ang="0">
                  <a:pos x="T4" y="T5"/>
                </a:cxn>
                <a:cxn ang="0">
                  <a:pos x="T6" y="T7"/>
                </a:cxn>
                <a:cxn ang="0">
                  <a:pos x="T8" y="T9"/>
                </a:cxn>
              </a:cxnLst>
              <a:rect l="0" t="0" r="r" b="b"/>
              <a:pathLst>
                <a:path w="7" h="6">
                  <a:moveTo>
                    <a:pt x="7" y="2"/>
                  </a:moveTo>
                  <a:cubicBezTo>
                    <a:pt x="7" y="4"/>
                    <a:pt x="6" y="5"/>
                    <a:pt x="4" y="6"/>
                  </a:cubicBezTo>
                  <a:cubicBezTo>
                    <a:pt x="3" y="6"/>
                    <a:pt x="1" y="5"/>
                    <a:pt x="1" y="3"/>
                  </a:cubicBezTo>
                  <a:cubicBezTo>
                    <a:pt x="0" y="2"/>
                    <a:pt x="1" y="0"/>
                    <a:pt x="3" y="0"/>
                  </a:cubicBezTo>
                  <a:cubicBezTo>
                    <a:pt x="5" y="0"/>
                    <a:pt x="6" y="1"/>
                    <a:pt x="7"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0" name="Freeform 180"/>
            <p:cNvSpPr>
              <a:spLocks/>
            </p:cNvSpPr>
            <p:nvPr/>
          </p:nvSpPr>
          <p:spPr bwMode="auto">
            <a:xfrm>
              <a:off x="1542" y="2270"/>
              <a:ext cx="39" cy="149"/>
            </a:xfrm>
            <a:custGeom>
              <a:avLst/>
              <a:gdLst>
                <a:gd name="T0" fmla="*/ 7 w 39"/>
                <a:gd name="T1" fmla="*/ 14 h 149"/>
                <a:gd name="T2" fmla="*/ 0 w 39"/>
                <a:gd name="T3" fmla="*/ 149 h 149"/>
                <a:gd name="T4" fmla="*/ 21 w 39"/>
                <a:gd name="T5" fmla="*/ 65 h 149"/>
                <a:gd name="T6" fmla="*/ 39 w 39"/>
                <a:gd name="T7" fmla="*/ 6 h 149"/>
                <a:gd name="T8" fmla="*/ 37 w 39"/>
                <a:gd name="T9" fmla="*/ 0 h 149"/>
                <a:gd name="T10" fmla="*/ 7 w 39"/>
                <a:gd name="T11" fmla="*/ 14 h 149"/>
              </a:gdLst>
              <a:ahLst/>
              <a:cxnLst>
                <a:cxn ang="0">
                  <a:pos x="T0" y="T1"/>
                </a:cxn>
                <a:cxn ang="0">
                  <a:pos x="T2" y="T3"/>
                </a:cxn>
                <a:cxn ang="0">
                  <a:pos x="T4" y="T5"/>
                </a:cxn>
                <a:cxn ang="0">
                  <a:pos x="T6" y="T7"/>
                </a:cxn>
                <a:cxn ang="0">
                  <a:pos x="T8" y="T9"/>
                </a:cxn>
                <a:cxn ang="0">
                  <a:pos x="T10" y="T11"/>
                </a:cxn>
              </a:cxnLst>
              <a:rect l="0" t="0" r="r" b="b"/>
              <a:pathLst>
                <a:path w="39" h="149">
                  <a:moveTo>
                    <a:pt x="7" y="14"/>
                  </a:moveTo>
                  <a:lnTo>
                    <a:pt x="0" y="149"/>
                  </a:lnTo>
                  <a:lnTo>
                    <a:pt x="21" y="65"/>
                  </a:lnTo>
                  <a:lnTo>
                    <a:pt x="39" y="6"/>
                  </a:lnTo>
                  <a:lnTo>
                    <a:pt x="37" y="0"/>
                  </a:lnTo>
                  <a:lnTo>
                    <a:pt x="7" y="1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1" name="Freeform 181"/>
            <p:cNvSpPr>
              <a:spLocks/>
            </p:cNvSpPr>
            <p:nvPr/>
          </p:nvSpPr>
          <p:spPr bwMode="auto">
            <a:xfrm>
              <a:off x="1519" y="2265"/>
              <a:ext cx="30" cy="154"/>
            </a:xfrm>
            <a:custGeom>
              <a:avLst/>
              <a:gdLst>
                <a:gd name="T0" fmla="*/ 30 w 30"/>
                <a:gd name="T1" fmla="*/ 19 h 154"/>
                <a:gd name="T2" fmla="*/ 23 w 30"/>
                <a:gd name="T3" fmla="*/ 154 h 154"/>
                <a:gd name="T4" fmla="*/ 8 w 30"/>
                <a:gd name="T5" fmla="*/ 71 h 154"/>
                <a:gd name="T6" fmla="*/ 0 w 30"/>
                <a:gd name="T7" fmla="*/ 6 h 154"/>
                <a:gd name="T8" fmla="*/ 3 w 30"/>
                <a:gd name="T9" fmla="*/ 0 h 154"/>
                <a:gd name="T10" fmla="*/ 30 w 30"/>
                <a:gd name="T11" fmla="*/ 19 h 154"/>
              </a:gdLst>
              <a:ahLst/>
              <a:cxnLst>
                <a:cxn ang="0">
                  <a:pos x="T0" y="T1"/>
                </a:cxn>
                <a:cxn ang="0">
                  <a:pos x="T2" y="T3"/>
                </a:cxn>
                <a:cxn ang="0">
                  <a:pos x="T4" y="T5"/>
                </a:cxn>
                <a:cxn ang="0">
                  <a:pos x="T6" y="T7"/>
                </a:cxn>
                <a:cxn ang="0">
                  <a:pos x="T8" y="T9"/>
                </a:cxn>
                <a:cxn ang="0">
                  <a:pos x="T10" y="T11"/>
                </a:cxn>
              </a:cxnLst>
              <a:rect l="0" t="0" r="r" b="b"/>
              <a:pathLst>
                <a:path w="30" h="154">
                  <a:moveTo>
                    <a:pt x="30" y="19"/>
                  </a:moveTo>
                  <a:lnTo>
                    <a:pt x="23" y="154"/>
                  </a:lnTo>
                  <a:lnTo>
                    <a:pt x="8" y="71"/>
                  </a:lnTo>
                  <a:lnTo>
                    <a:pt x="0" y="6"/>
                  </a:lnTo>
                  <a:lnTo>
                    <a:pt x="3" y="0"/>
                  </a:lnTo>
                  <a:lnTo>
                    <a:pt x="3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2" name="Freeform 182"/>
            <p:cNvSpPr>
              <a:spLocks/>
            </p:cNvSpPr>
            <p:nvPr/>
          </p:nvSpPr>
          <p:spPr bwMode="auto">
            <a:xfrm>
              <a:off x="1522" y="2257"/>
              <a:ext cx="27" cy="38"/>
            </a:xfrm>
            <a:custGeom>
              <a:avLst/>
              <a:gdLst>
                <a:gd name="T0" fmla="*/ 27 w 27"/>
                <a:gd name="T1" fmla="*/ 27 h 38"/>
                <a:gd name="T2" fmla="*/ 7 w 27"/>
                <a:gd name="T3" fmla="*/ 0 h 38"/>
                <a:gd name="T4" fmla="*/ 0 w 27"/>
                <a:gd name="T5" fmla="*/ 8 h 38"/>
                <a:gd name="T6" fmla="*/ 4 w 27"/>
                <a:gd name="T7" fmla="*/ 38 h 38"/>
                <a:gd name="T8" fmla="*/ 21 w 27"/>
                <a:gd name="T9" fmla="*/ 23 h 38"/>
                <a:gd name="T10" fmla="*/ 27 w 27"/>
                <a:gd name="T11" fmla="*/ 27 h 38"/>
              </a:gdLst>
              <a:ahLst/>
              <a:cxnLst>
                <a:cxn ang="0">
                  <a:pos x="T0" y="T1"/>
                </a:cxn>
                <a:cxn ang="0">
                  <a:pos x="T2" y="T3"/>
                </a:cxn>
                <a:cxn ang="0">
                  <a:pos x="T4" y="T5"/>
                </a:cxn>
                <a:cxn ang="0">
                  <a:pos x="T6" y="T7"/>
                </a:cxn>
                <a:cxn ang="0">
                  <a:pos x="T8" y="T9"/>
                </a:cxn>
                <a:cxn ang="0">
                  <a:pos x="T10" y="T11"/>
                </a:cxn>
              </a:cxnLst>
              <a:rect l="0" t="0" r="r" b="b"/>
              <a:pathLst>
                <a:path w="27" h="38">
                  <a:moveTo>
                    <a:pt x="27" y="27"/>
                  </a:moveTo>
                  <a:lnTo>
                    <a:pt x="7" y="0"/>
                  </a:lnTo>
                  <a:lnTo>
                    <a:pt x="0" y="8"/>
                  </a:lnTo>
                  <a:lnTo>
                    <a:pt x="4" y="38"/>
                  </a:lnTo>
                  <a:lnTo>
                    <a:pt x="21" y="23"/>
                  </a:lnTo>
                  <a:lnTo>
                    <a:pt x="27" y="2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3" name="Freeform 183"/>
            <p:cNvSpPr>
              <a:spLocks/>
            </p:cNvSpPr>
            <p:nvPr/>
          </p:nvSpPr>
          <p:spPr bwMode="auto">
            <a:xfrm>
              <a:off x="1549" y="2261"/>
              <a:ext cx="31" cy="38"/>
            </a:xfrm>
            <a:custGeom>
              <a:avLst/>
              <a:gdLst>
                <a:gd name="T0" fmla="*/ 0 w 31"/>
                <a:gd name="T1" fmla="*/ 23 h 38"/>
                <a:gd name="T2" fmla="*/ 24 w 31"/>
                <a:gd name="T3" fmla="*/ 0 h 38"/>
                <a:gd name="T4" fmla="*/ 31 w 31"/>
                <a:gd name="T5" fmla="*/ 9 h 38"/>
                <a:gd name="T6" fmla="*/ 20 w 31"/>
                <a:gd name="T7" fmla="*/ 38 h 38"/>
                <a:gd name="T8" fmla="*/ 6 w 31"/>
                <a:gd name="T9" fmla="*/ 20 h 38"/>
                <a:gd name="T10" fmla="*/ 0 w 31"/>
                <a:gd name="T11" fmla="*/ 23 h 38"/>
              </a:gdLst>
              <a:ahLst/>
              <a:cxnLst>
                <a:cxn ang="0">
                  <a:pos x="T0" y="T1"/>
                </a:cxn>
                <a:cxn ang="0">
                  <a:pos x="T2" y="T3"/>
                </a:cxn>
                <a:cxn ang="0">
                  <a:pos x="T4" y="T5"/>
                </a:cxn>
                <a:cxn ang="0">
                  <a:pos x="T6" y="T7"/>
                </a:cxn>
                <a:cxn ang="0">
                  <a:pos x="T8" y="T9"/>
                </a:cxn>
                <a:cxn ang="0">
                  <a:pos x="T10" y="T11"/>
                </a:cxn>
              </a:cxnLst>
              <a:rect l="0" t="0" r="r" b="b"/>
              <a:pathLst>
                <a:path w="31" h="38">
                  <a:moveTo>
                    <a:pt x="0" y="23"/>
                  </a:moveTo>
                  <a:lnTo>
                    <a:pt x="24" y="0"/>
                  </a:lnTo>
                  <a:lnTo>
                    <a:pt x="31" y="9"/>
                  </a:lnTo>
                  <a:lnTo>
                    <a:pt x="20" y="38"/>
                  </a:lnTo>
                  <a:lnTo>
                    <a:pt x="6" y="2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4" name="Freeform 184"/>
            <p:cNvSpPr>
              <a:spLocks/>
            </p:cNvSpPr>
            <p:nvPr/>
          </p:nvSpPr>
          <p:spPr bwMode="auto">
            <a:xfrm>
              <a:off x="1541" y="2280"/>
              <a:ext cx="16" cy="14"/>
            </a:xfrm>
            <a:custGeom>
              <a:avLst/>
              <a:gdLst>
                <a:gd name="T0" fmla="*/ 2 w 16"/>
                <a:gd name="T1" fmla="*/ 0 h 14"/>
                <a:gd name="T2" fmla="*/ 0 w 16"/>
                <a:gd name="T3" fmla="*/ 2 h 14"/>
                <a:gd name="T4" fmla="*/ 4 w 16"/>
                <a:gd name="T5" fmla="*/ 14 h 14"/>
                <a:gd name="T6" fmla="*/ 10 w 16"/>
                <a:gd name="T7" fmla="*/ 14 h 14"/>
                <a:gd name="T8" fmla="*/ 16 w 16"/>
                <a:gd name="T9" fmla="*/ 4 h 14"/>
                <a:gd name="T10" fmla="*/ 14 w 16"/>
                <a:gd name="T11" fmla="*/ 2 h 14"/>
                <a:gd name="T12" fmla="*/ 2 w 1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2" y="0"/>
                  </a:moveTo>
                  <a:lnTo>
                    <a:pt x="0" y="2"/>
                  </a:lnTo>
                  <a:lnTo>
                    <a:pt x="4" y="14"/>
                  </a:lnTo>
                  <a:lnTo>
                    <a:pt x="10" y="14"/>
                  </a:lnTo>
                  <a:lnTo>
                    <a:pt x="16" y="4"/>
                  </a:lnTo>
                  <a:lnTo>
                    <a:pt x="14" y="2"/>
                  </a:lnTo>
                  <a:lnTo>
                    <a:pt x="2"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5" name="Freeform 185"/>
            <p:cNvSpPr>
              <a:spLocks/>
            </p:cNvSpPr>
            <p:nvPr/>
          </p:nvSpPr>
          <p:spPr bwMode="auto">
            <a:xfrm>
              <a:off x="1537" y="2294"/>
              <a:ext cx="14" cy="127"/>
            </a:xfrm>
            <a:custGeom>
              <a:avLst/>
              <a:gdLst>
                <a:gd name="T0" fmla="*/ 8 w 14"/>
                <a:gd name="T1" fmla="*/ 0 h 127"/>
                <a:gd name="T2" fmla="*/ 0 w 14"/>
                <a:gd name="T3" fmla="*/ 106 h 127"/>
                <a:gd name="T4" fmla="*/ 5 w 14"/>
                <a:gd name="T5" fmla="*/ 127 h 127"/>
                <a:gd name="T6" fmla="*/ 12 w 14"/>
                <a:gd name="T7" fmla="*/ 115 h 127"/>
                <a:gd name="T8" fmla="*/ 14 w 14"/>
                <a:gd name="T9" fmla="*/ 0 h 127"/>
                <a:gd name="T10" fmla="*/ 8 w 14"/>
                <a:gd name="T11" fmla="*/ 0 h 127"/>
              </a:gdLst>
              <a:ahLst/>
              <a:cxnLst>
                <a:cxn ang="0">
                  <a:pos x="T0" y="T1"/>
                </a:cxn>
                <a:cxn ang="0">
                  <a:pos x="T2" y="T3"/>
                </a:cxn>
                <a:cxn ang="0">
                  <a:pos x="T4" y="T5"/>
                </a:cxn>
                <a:cxn ang="0">
                  <a:pos x="T6" y="T7"/>
                </a:cxn>
                <a:cxn ang="0">
                  <a:pos x="T8" y="T9"/>
                </a:cxn>
                <a:cxn ang="0">
                  <a:pos x="T10" y="T11"/>
                </a:cxn>
              </a:cxnLst>
              <a:rect l="0" t="0" r="r" b="b"/>
              <a:pathLst>
                <a:path w="14" h="127">
                  <a:moveTo>
                    <a:pt x="8" y="0"/>
                  </a:moveTo>
                  <a:lnTo>
                    <a:pt x="0" y="106"/>
                  </a:lnTo>
                  <a:lnTo>
                    <a:pt x="5" y="127"/>
                  </a:lnTo>
                  <a:lnTo>
                    <a:pt x="12" y="115"/>
                  </a:lnTo>
                  <a:lnTo>
                    <a:pt x="14" y="0"/>
                  </a:lnTo>
                  <a:lnTo>
                    <a:pt x="8"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6" name="Freeform 186"/>
            <p:cNvSpPr>
              <a:spLocks/>
            </p:cNvSpPr>
            <p:nvPr/>
          </p:nvSpPr>
          <p:spPr bwMode="auto">
            <a:xfrm>
              <a:off x="1541" y="2270"/>
              <a:ext cx="54" cy="158"/>
            </a:xfrm>
            <a:custGeom>
              <a:avLst/>
              <a:gdLst>
                <a:gd name="T0" fmla="*/ 58 w 58"/>
                <a:gd name="T1" fmla="*/ 15 h 171"/>
                <a:gd name="T2" fmla="*/ 50 w 58"/>
                <a:gd name="T3" fmla="*/ 24 h 171"/>
                <a:gd name="T4" fmla="*/ 55 w 58"/>
                <a:gd name="T5" fmla="*/ 27 h 171"/>
                <a:gd name="T6" fmla="*/ 0 w 58"/>
                <a:gd name="T7" fmla="*/ 171 h 171"/>
                <a:gd name="T8" fmla="*/ 2 w 58"/>
                <a:gd name="T9" fmla="*/ 157 h 171"/>
                <a:gd name="T10" fmla="*/ 40 w 58"/>
                <a:gd name="T11" fmla="*/ 0 h 171"/>
                <a:gd name="T12" fmla="*/ 58 w 58"/>
                <a:gd name="T13" fmla="*/ 15 h 171"/>
              </a:gdLst>
              <a:ahLst/>
              <a:cxnLst>
                <a:cxn ang="0">
                  <a:pos x="T0" y="T1"/>
                </a:cxn>
                <a:cxn ang="0">
                  <a:pos x="T2" y="T3"/>
                </a:cxn>
                <a:cxn ang="0">
                  <a:pos x="T4" y="T5"/>
                </a:cxn>
                <a:cxn ang="0">
                  <a:pos x="T6" y="T7"/>
                </a:cxn>
                <a:cxn ang="0">
                  <a:pos x="T8" y="T9"/>
                </a:cxn>
                <a:cxn ang="0">
                  <a:pos x="T10" y="T11"/>
                </a:cxn>
                <a:cxn ang="0">
                  <a:pos x="T12" y="T13"/>
                </a:cxn>
              </a:cxnLst>
              <a:rect l="0" t="0" r="r" b="b"/>
              <a:pathLst>
                <a:path w="58" h="171">
                  <a:moveTo>
                    <a:pt x="58" y="15"/>
                  </a:moveTo>
                  <a:cubicBezTo>
                    <a:pt x="50" y="24"/>
                    <a:pt x="50" y="24"/>
                    <a:pt x="50" y="24"/>
                  </a:cubicBezTo>
                  <a:cubicBezTo>
                    <a:pt x="55" y="27"/>
                    <a:pt x="55" y="27"/>
                    <a:pt x="55" y="27"/>
                  </a:cubicBezTo>
                  <a:cubicBezTo>
                    <a:pt x="38" y="69"/>
                    <a:pt x="0" y="171"/>
                    <a:pt x="0" y="171"/>
                  </a:cubicBezTo>
                  <a:cubicBezTo>
                    <a:pt x="2" y="157"/>
                    <a:pt x="2" y="157"/>
                    <a:pt x="2" y="157"/>
                  </a:cubicBezTo>
                  <a:cubicBezTo>
                    <a:pt x="13" y="120"/>
                    <a:pt x="40" y="0"/>
                    <a:pt x="40" y="0"/>
                  </a:cubicBezTo>
                  <a:lnTo>
                    <a:pt x="58" y="15"/>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7" name="Freeform 187"/>
            <p:cNvSpPr>
              <a:spLocks/>
            </p:cNvSpPr>
            <p:nvPr/>
          </p:nvSpPr>
          <p:spPr bwMode="auto">
            <a:xfrm>
              <a:off x="1503" y="2264"/>
              <a:ext cx="40" cy="164"/>
            </a:xfrm>
            <a:custGeom>
              <a:avLst/>
              <a:gdLst>
                <a:gd name="T0" fmla="*/ 0 w 43"/>
                <a:gd name="T1" fmla="*/ 13 h 177"/>
                <a:gd name="T2" fmla="*/ 7 w 43"/>
                <a:gd name="T3" fmla="*/ 22 h 177"/>
                <a:gd name="T4" fmla="*/ 1 w 43"/>
                <a:gd name="T5" fmla="*/ 25 h 177"/>
                <a:gd name="T6" fmla="*/ 41 w 43"/>
                <a:gd name="T7" fmla="*/ 177 h 177"/>
                <a:gd name="T8" fmla="*/ 43 w 43"/>
                <a:gd name="T9" fmla="*/ 163 h 177"/>
                <a:gd name="T10" fmla="*/ 20 w 43"/>
                <a:gd name="T11" fmla="*/ 0 h 177"/>
                <a:gd name="T12" fmla="*/ 0 w 43"/>
                <a:gd name="T13" fmla="*/ 13 h 177"/>
              </a:gdLst>
              <a:ahLst/>
              <a:cxnLst>
                <a:cxn ang="0">
                  <a:pos x="T0" y="T1"/>
                </a:cxn>
                <a:cxn ang="0">
                  <a:pos x="T2" y="T3"/>
                </a:cxn>
                <a:cxn ang="0">
                  <a:pos x="T4" y="T5"/>
                </a:cxn>
                <a:cxn ang="0">
                  <a:pos x="T6" y="T7"/>
                </a:cxn>
                <a:cxn ang="0">
                  <a:pos x="T8" y="T9"/>
                </a:cxn>
                <a:cxn ang="0">
                  <a:pos x="T10" y="T11"/>
                </a:cxn>
                <a:cxn ang="0">
                  <a:pos x="T12" y="T13"/>
                </a:cxn>
              </a:cxnLst>
              <a:rect l="0" t="0" r="r" b="b"/>
              <a:pathLst>
                <a:path w="43" h="177">
                  <a:moveTo>
                    <a:pt x="0" y="13"/>
                  </a:moveTo>
                  <a:cubicBezTo>
                    <a:pt x="7" y="22"/>
                    <a:pt x="7" y="22"/>
                    <a:pt x="7" y="22"/>
                  </a:cubicBezTo>
                  <a:cubicBezTo>
                    <a:pt x="1" y="25"/>
                    <a:pt x="1" y="25"/>
                    <a:pt x="1" y="25"/>
                  </a:cubicBezTo>
                  <a:cubicBezTo>
                    <a:pt x="11" y="69"/>
                    <a:pt x="41" y="177"/>
                    <a:pt x="41" y="177"/>
                  </a:cubicBezTo>
                  <a:cubicBezTo>
                    <a:pt x="43" y="163"/>
                    <a:pt x="43" y="163"/>
                    <a:pt x="43" y="163"/>
                  </a:cubicBezTo>
                  <a:cubicBezTo>
                    <a:pt x="38" y="125"/>
                    <a:pt x="20" y="0"/>
                    <a:pt x="20" y="0"/>
                  </a:cubicBezTo>
                  <a:lnTo>
                    <a:pt x="0" y="13"/>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8" name="Freeform 188"/>
            <p:cNvSpPr>
              <a:spLocks/>
            </p:cNvSpPr>
            <p:nvPr/>
          </p:nvSpPr>
          <p:spPr bwMode="auto">
            <a:xfrm>
              <a:off x="1469" y="2480"/>
              <a:ext cx="127" cy="46"/>
            </a:xfrm>
            <a:custGeom>
              <a:avLst/>
              <a:gdLst>
                <a:gd name="T0" fmla="*/ 0 w 127"/>
                <a:gd name="T1" fmla="*/ 29 h 46"/>
                <a:gd name="T2" fmla="*/ 60 w 127"/>
                <a:gd name="T3" fmla="*/ 35 h 46"/>
                <a:gd name="T4" fmla="*/ 68 w 127"/>
                <a:gd name="T5" fmla="*/ 0 h 46"/>
                <a:gd name="T6" fmla="*/ 66 w 127"/>
                <a:gd name="T7" fmla="*/ 35 h 46"/>
                <a:gd name="T8" fmla="*/ 127 w 127"/>
                <a:gd name="T9" fmla="*/ 40 h 46"/>
                <a:gd name="T10" fmla="*/ 127 w 127"/>
                <a:gd name="T11" fmla="*/ 45 h 46"/>
                <a:gd name="T12" fmla="*/ 66 w 127"/>
                <a:gd name="T13" fmla="*/ 43 h 46"/>
                <a:gd name="T14" fmla="*/ 62 w 127"/>
                <a:gd name="T15" fmla="*/ 35 h 46"/>
                <a:gd name="T16" fmla="*/ 58 w 127"/>
                <a:gd name="T17" fmla="*/ 43 h 46"/>
                <a:gd name="T18" fmla="*/ 0 w 127"/>
                <a:gd name="T19" fmla="*/ 46 h 46"/>
                <a:gd name="T20" fmla="*/ 0 w 127"/>
                <a:gd name="T21"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46">
                  <a:moveTo>
                    <a:pt x="0" y="29"/>
                  </a:moveTo>
                  <a:lnTo>
                    <a:pt x="60" y="35"/>
                  </a:lnTo>
                  <a:lnTo>
                    <a:pt x="68" y="0"/>
                  </a:lnTo>
                  <a:lnTo>
                    <a:pt x="66" y="35"/>
                  </a:lnTo>
                  <a:lnTo>
                    <a:pt x="127" y="40"/>
                  </a:lnTo>
                  <a:lnTo>
                    <a:pt x="127" y="45"/>
                  </a:lnTo>
                  <a:lnTo>
                    <a:pt x="66" y="43"/>
                  </a:lnTo>
                  <a:lnTo>
                    <a:pt x="62" y="35"/>
                  </a:lnTo>
                  <a:lnTo>
                    <a:pt x="58" y="43"/>
                  </a:lnTo>
                  <a:lnTo>
                    <a:pt x="0" y="46"/>
                  </a:lnTo>
                  <a:lnTo>
                    <a:pt x="0" y="2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9" name="Freeform 189"/>
            <p:cNvSpPr>
              <a:spLocks/>
            </p:cNvSpPr>
            <p:nvPr/>
          </p:nvSpPr>
          <p:spPr bwMode="auto">
            <a:xfrm>
              <a:off x="1540" y="2423"/>
              <a:ext cx="5" cy="6"/>
            </a:xfrm>
            <a:custGeom>
              <a:avLst/>
              <a:gdLst>
                <a:gd name="T0" fmla="*/ 6 w 6"/>
                <a:gd name="T1" fmla="*/ 4 h 7"/>
                <a:gd name="T2" fmla="*/ 3 w 6"/>
                <a:gd name="T3" fmla="*/ 7 h 7"/>
                <a:gd name="T4" fmla="*/ 0 w 6"/>
                <a:gd name="T5" fmla="*/ 3 h 7"/>
                <a:gd name="T6" fmla="*/ 3 w 6"/>
                <a:gd name="T7" fmla="*/ 1 h 7"/>
                <a:gd name="T8" fmla="*/ 6 w 6"/>
                <a:gd name="T9" fmla="*/ 4 h 7"/>
              </a:gdLst>
              <a:ahLst/>
              <a:cxnLst>
                <a:cxn ang="0">
                  <a:pos x="T0" y="T1"/>
                </a:cxn>
                <a:cxn ang="0">
                  <a:pos x="T2" y="T3"/>
                </a:cxn>
                <a:cxn ang="0">
                  <a:pos x="T4" y="T5"/>
                </a:cxn>
                <a:cxn ang="0">
                  <a:pos x="T6" y="T7"/>
                </a:cxn>
                <a:cxn ang="0">
                  <a:pos x="T8" y="T9"/>
                </a:cxn>
              </a:cxnLst>
              <a:rect l="0" t="0" r="r" b="b"/>
              <a:pathLst>
                <a:path w="6" h="7">
                  <a:moveTo>
                    <a:pt x="6" y="4"/>
                  </a:moveTo>
                  <a:cubicBezTo>
                    <a:pt x="6" y="6"/>
                    <a:pt x="5" y="7"/>
                    <a:pt x="3" y="7"/>
                  </a:cubicBezTo>
                  <a:cubicBezTo>
                    <a:pt x="1" y="7"/>
                    <a:pt x="0" y="5"/>
                    <a:pt x="0" y="3"/>
                  </a:cubicBezTo>
                  <a:cubicBezTo>
                    <a:pt x="0" y="2"/>
                    <a:pt x="2" y="0"/>
                    <a:pt x="3" y="1"/>
                  </a:cubicBezTo>
                  <a:cubicBezTo>
                    <a:pt x="5" y="1"/>
                    <a:pt x="6" y="2"/>
                    <a:pt x="6" y="4"/>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0" name="Freeform 190"/>
            <p:cNvSpPr>
              <a:spLocks/>
            </p:cNvSpPr>
            <p:nvPr/>
          </p:nvSpPr>
          <p:spPr bwMode="auto">
            <a:xfrm>
              <a:off x="1536" y="2463"/>
              <a:ext cx="6" cy="5"/>
            </a:xfrm>
            <a:custGeom>
              <a:avLst/>
              <a:gdLst>
                <a:gd name="T0" fmla="*/ 7 w 7"/>
                <a:gd name="T1" fmla="*/ 3 h 6"/>
                <a:gd name="T2" fmla="*/ 3 w 7"/>
                <a:gd name="T3" fmla="*/ 6 h 6"/>
                <a:gd name="T4" fmla="*/ 0 w 7"/>
                <a:gd name="T5" fmla="*/ 3 h 6"/>
                <a:gd name="T6" fmla="*/ 4 w 7"/>
                <a:gd name="T7" fmla="*/ 0 h 6"/>
                <a:gd name="T8" fmla="*/ 7 w 7"/>
                <a:gd name="T9" fmla="*/ 3 h 6"/>
              </a:gdLst>
              <a:ahLst/>
              <a:cxnLst>
                <a:cxn ang="0">
                  <a:pos x="T0" y="T1"/>
                </a:cxn>
                <a:cxn ang="0">
                  <a:pos x="T2" y="T3"/>
                </a:cxn>
                <a:cxn ang="0">
                  <a:pos x="T4" y="T5"/>
                </a:cxn>
                <a:cxn ang="0">
                  <a:pos x="T6" y="T7"/>
                </a:cxn>
                <a:cxn ang="0">
                  <a:pos x="T8" y="T9"/>
                </a:cxn>
              </a:cxnLst>
              <a:rect l="0" t="0" r="r" b="b"/>
              <a:pathLst>
                <a:path w="7" h="6">
                  <a:moveTo>
                    <a:pt x="7" y="3"/>
                  </a:moveTo>
                  <a:cubicBezTo>
                    <a:pt x="7" y="5"/>
                    <a:pt x="5" y="6"/>
                    <a:pt x="3" y="6"/>
                  </a:cubicBezTo>
                  <a:cubicBezTo>
                    <a:pt x="2" y="6"/>
                    <a:pt x="0" y="4"/>
                    <a:pt x="0" y="3"/>
                  </a:cubicBezTo>
                  <a:cubicBezTo>
                    <a:pt x="1" y="1"/>
                    <a:pt x="2" y="0"/>
                    <a:pt x="4" y="0"/>
                  </a:cubicBezTo>
                  <a:cubicBezTo>
                    <a:pt x="6" y="0"/>
                    <a:pt x="7" y="2"/>
                    <a:pt x="7" y="3"/>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1" name="Freeform 191"/>
            <p:cNvSpPr>
              <a:spLocks/>
            </p:cNvSpPr>
            <p:nvPr/>
          </p:nvSpPr>
          <p:spPr bwMode="auto">
            <a:xfrm>
              <a:off x="1568" y="2220"/>
              <a:ext cx="22" cy="11"/>
            </a:xfrm>
            <a:custGeom>
              <a:avLst/>
              <a:gdLst>
                <a:gd name="T0" fmla="*/ 19 w 23"/>
                <a:gd name="T1" fmla="*/ 0 h 12"/>
                <a:gd name="T2" fmla="*/ 0 w 23"/>
                <a:gd name="T3" fmla="*/ 8 h 12"/>
                <a:gd name="T4" fmla="*/ 23 w 23"/>
                <a:gd name="T5" fmla="*/ 8 h 12"/>
                <a:gd name="T6" fmla="*/ 19 w 23"/>
                <a:gd name="T7" fmla="*/ 0 h 12"/>
              </a:gdLst>
              <a:ahLst/>
              <a:cxnLst>
                <a:cxn ang="0">
                  <a:pos x="T0" y="T1"/>
                </a:cxn>
                <a:cxn ang="0">
                  <a:pos x="T2" y="T3"/>
                </a:cxn>
                <a:cxn ang="0">
                  <a:pos x="T4" y="T5"/>
                </a:cxn>
                <a:cxn ang="0">
                  <a:pos x="T6" y="T7"/>
                </a:cxn>
              </a:cxnLst>
              <a:rect l="0" t="0" r="r" b="b"/>
              <a:pathLst>
                <a:path w="23" h="12">
                  <a:moveTo>
                    <a:pt x="19" y="0"/>
                  </a:moveTo>
                  <a:cubicBezTo>
                    <a:pt x="0" y="8"/>
                    <a:pt x="0" y="8"/>
                    <a:pt x="0" y="8"/>
                  </a:cubicBezTo>
                  <a:cubicBezTo>
                    <a:pt x="0" y="8"/>
                    <a:pt x="10" y="12"/>
                    <a:pt x="23" y="8"/>
                  </a:cubicBezTo>
                  <a:lnTo>
                    <a:pt x="19" y="0"/>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2" name="Freeform 192"/>
            <p:cNvSpPr>
              <a:spLocks/>
            </p:cNvSpPr>
            <p:nvPr/>
          </p:nvSpPr>
          <p:spPr bwMode="auto">
            <a:xfrm>
              <a:off x="1568" y="2220"/>
              <a:ext cx="21" cy="10"/>
            </a:xfrm>
            <a:custGeom>
              <a:avLst/>
              <a:gdLst>
                <a:gd name="T0" fmla="*/ 19 w 22"/>
                <a:gd name="T1" fmla="*/ 0 h 11"/>
                <a:gd name="T2" fmla="*/ 0 w 22"/>
                <a:gd name="T3" fmla="*/ 8 h 11"/>
                <a:gd name="T4" fmla="*/ 22 w 22"/>
                <a:gd name="T5" fmla="*/ 6 h 11"/>
                <a:gd name="T6" fmla="*/ 19 w 22"/>
                <a:gd name="T7" fmla="*/ 0 h 11"/>
              </a:gdLst>
              <a:ahLst/>
              <a:cxnLst>
                <a:cxn ang="0">
                  <a:pos x="T0" y="T1"/>
                </a:cxn>
                <a:cxn ang="0">
                  <a:pos x="T2" y="T3"/>
                </a:cxn>
                <a:cxn ang="0">
                  <a:pos x="T4" y="T5"/>
                </a:cxn>
                <a:cxn ang="0">
                  <a:pos x="T6" y="T7"/>
                </a:cxn>
              </a:cxnLst>
              <a:rect l="0" t="0" r="r" b="b"/>
              <a:pathLst>
                <a:path w="22" h="11">
                  <a:moveTo>
                    <a:pt x="19" y="0"/>
                  </a:moveTo>
                  <a:cubicBezTo>
                    <a:pt x="0" y="8"/>
                    <a:pt x="0" y="8"/>
                    <a:pt x="0" y="8"/>
                  </a:cubicBezTo>
                  <a:cubicBezTo>
                    <a:pt x="0" y="8"/>
                    <a:pt x="10" y="11"/>
                    <a:pt x="22" y="6"/>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3" name="Freeform 193"/>
            <p:cNvSpPr>
              <a:spLocks/>
            </p:cNvSpPr>
            <p:nvPr/>
          </p:nvSpPr>
          <p:spPr bwMode="auto">
            <a:xfrm>
              <a:off x="1512" y="2248"/>
              <a:ext cx="106" cy="80"/>
            </a:xfrm>
            <a:custGeom>
              <a:avLst/>
              <a:gdLst>
                <a:gd name="T0" fmla="*/ 106 w 106"/>
                <a:gd name="T1" fmla="*/ 43 h 80"/>
                <a:gd name="T2" fmla="*/ 92 w 106"/>
                <a:gd name="T3" fmla="*/ 0 h 80"/>
                <a:gd name="T4" fmla="*/ 0 w 106"/>
                <a:gd name="T5" fmla="*/ 19 h 80"/>
                <a:gd name="T6" fmla="*/ 14 w 106"/>
                <a:gd name="T7" fmla="*/ 80 h 80"/>
                <a:gd name="T8" fmla="*/ 106 w 106"/>
                <a:gd name="T9" fmla="*/ 43 h 80"/>
              </a:gdLst>
              <a:ahLst/>
              <a:cxnLst>
                <a:cxn ang="0">
                  <a:pos x="T0" y="T1"/>
                </a:cxn>
                <a:cxn ang="0">
                  <a:pos x="T2" y="T3"/>
                </a:cxn>
                <a:cxn ang="0">
                  <a:pos x="T4" y="T5"/>
                </a:cxn>
                <a:cxn ang="0">
                  <a:pos x="T6" y="T7"/>
                </a:cxn>
                <a:cxn ang="0">
                  <a:pos x="T8" y="T9"/>
                </a:cxn>
              </a:cxnLst>
              <a:rect l="0" t="0" r="r" b="b"/>
              <a:pathLst>
                <a:path w="106" h="80">
                  <a:moveTo>
                    <a:pt x="106" y="43"/>
                  </a:moveTo>
                  <a:lnTo>
                    <a:pt x="92" y="0"/>
                  </a:lnTo>
                  <a:lnTo>
                    <a:pt x="0" y="19"/>
                  </a:lnTo>
                  <a:lnTo>
                    <a:pt x="14" y="80"/>
                  </a:lnTo>
                  <a:lnTo>
                    <a:pt x="106" y="4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4" name="Freeform 194"/>
            <p:cNvSpPr>
              <a:spLocks/>
            </p:cNvSpPr>
            <p:nvPr/>
          </p:nvSpPr>
          <p:spPr bwMode="auto">
            <a:xfrm>
              <a:off x="1481" y="2263"/>
              <a:ext cx="72" cy="71"/>
            </a:xfrm>
            <a:custGeom>
              <a:avLst/>
              <a:gdLst>
                <a:gd name="T0" fmla="*/ 49 w 77"/>
                <a:gd name="T1" fmla="*/ 70 h 76"/>
                <a:gd name="T2" fmla="*/ 6 w 77"/>
                <a:gd name="T3" fmla="*/ 48 h 76"/>
                <a:gd name="T4" fmla="*/ 28 w 77"/>
                <a:gd name="T5" fmla="*/ 5 h 76"/>
                <a:gd name="T6" fmla="*/ 71 w 77"/>
                <a:gd name="T7" fmla="*/ 28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1" y="76"/>
                    <a:pt x="12" y="66"/>
                    <a:pt x="6" y="48"/>
                  </a:cubicBezTo>
                  <a:cubicBezTo>
                    <a:pt x="0" y="30"/>
                    <a:pt x="10" y="11"/>
                    <a:pt x="28" y="5"/>
                  </a:cubicBezTo>
                  <a:cubicBezTo>
                    <a:pt x="46" y="0"/>
                    <a:pt x="65" y="10"/>
                    <a:pt x="71" y="28"/>
                  </a:cubicBezTo>
                  <a:cubicBezTo>
                    <a:pt x="77" y="46"/>
                    <a:pt x="67" y="65"/>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5" name="Freeform 195"/>
            <p:cNvSpPr>
              <a:spLocks/>
            </p:cNvSpPr>
            <p:nvPr/>
          </p:nvSpPr>
          <p:spPr bwMode="auto">
            <a:xfrm>
              <a:off x="1636" y="2114"/>
              <a:ext cx="68" cy="93"/>
            </a:xfrm>
            <a:custGeom>
              <a:avLst/>
              <a:gdLst>
                <a:gd name="T0" fmla="*/ 51 w 73"/>
                <a:gd name="T1" fmla="*/ 74 h 100"/>
                <a:gd name="T2" fmla="*/ 71 w 73"/>
                <a:gd name="T3" fmla="*/ 33 h 100"/>
                <a:gd name="T4" fmla="*/ 66 w 73"/>
                <a:gd name="T5" fmla="*/ 22 h 100"/>
                <a:gd name="T6" fmla="*/ 61 w 73"/>
                <a:gd name="T7" fmla="*/ 9 h 100"/>
                <a:gd name="T8" fmla="*/ 56 w 73"/>
                <a:gd name="T9" fmla="*/ 0 h 100"/>
                <a:gd name="T10" fmla="*/ 52 w 73"/>
                <a:gd name="T11" fmla="*/ 9 h 100"/>
                <a:gd name="T12" fmla="*/ 43 w 73"/>
                <a:gd name="T13" fmla="*/ 15 h 100"/>
                <a:gd name="T14" fmla="*/ 38 w 73"/>
                <a:gd name="T15" fmla="*/ 26 h 100"/>
                <a:gd name="T16" fmla="*/ 29 w 73"/>
                <a:gd name="T17" fmla="*/ 17 h 100"/>
                <a:gd name="T18" fmla="*/ 26 w 73"/>
                <a:gd name="T19" fmla="*/ 48 h 100"/>
                <a:gd name="T20" fmla="*/ 26 w 73"/>
                <a:gd name="T21" fmla="*/ 54 h 100"/>
                <a:gd name="T22" fmla="*/ 0 w 73"/>
                <a:gd name="T23" fmla="*/ 94 h 100"/>
                <a:gd name="T24" fmla="*/ 35 w 73"/>
                <a:gd name="T25" fmla="*/ 100 h 100"/>
                <a:gd name="T26" fmla="*/ 51 w 73"/>
                <a:gd name="T27" fmla="*/ 7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100">
                  <a:moveTo>
                    <a:pt x="51" y="74"/>
                  </a:moveTo>
                  <a:cubicBezTo>
                    <a:pt x="65" y="59"/>
                    <a:pt x="67" y="51"/>
                    <a:pt x="71" y="33"/>
                  </a:cubicBezTo>
                  <a:cubicBezTo>
                    <a:pt x="73" y="22"/>
                    <a:pt x="70" y="18"/>
                    <a:pt x="66" y="22"/>
                  </a:cubicBezTo>
                  <a:cubicBezTo>
                    <a:pt x="71" y="12"/>
                    <a:pt x="64" y="3"/>
                    <a:pt x="61" y="9"/>
                  </a:cubicBezTo>
                  <a:cubicBezTo>
                    <a:pt x="61" y="7"/>
                    <a:pt x="60" y="1"/>
                    <a:pt x="56" y="0"/>
                  </a:cubicBezTo>
                  <a:cubicBezTo>
                    <a:pt x="53" y="0"/>
                    <a:pt x="52" y="6"/>
                    <a:pt x="52" y="9"/>
                  </a:cubicBezTo>
                  <a:cubicBezTo>
                    <a:pt x="49" y="6"/>
                    <a:pt x="44" y="6"/>
                    <a:pt x="43" y="15"/>
                  </a:cubicBezTo>
                  <a:cubicBezTo>
                    <a:pt x="42" y="22"/>
                    <a:pt x="38" y="26"/>
                    <a:pt x="38" y="26"/>
                  </a:cubicBezTo>
                  <a:cubicBezTo>
                    <a:pt x="37" y="18"/>
                    <a:pt x="33" y="15"/>
                    <a:pt x="29" y="17"/>
                  </a:cubicBezTo>
                  <a:cubicBezTo>
                    <a:pt x="29" y="25"/>
                    <a:pt x="26" y="37"/>
                    <a:pt x="26" y="48"/>
                  </a:cubicBezTo>
                  <a:cubicBezTo>
                    <a:pt x="26" y="50"/>
                    <a:pt x="26" y="52"/>
                    <a:pt x="26" y="54"/>
                  </a:cubicBezTo>
                  <a:cubicBezTo>
                    <a:pt x="0" y="94"/>
                    <a:pt x="0" y="94"/>
                    <a:pt x="0" y="94"/>
                  </a:cubicBezTo>
                  <a:cubicBezTo>
                    <a:pt x="35" y="100"/>
                    <a:pt x="35" y="100"/>
                    <a:pt x="35" y="100"/>
                  </a:cubicBezTo>
                  <a:lnTo>
                    <a:pt x="51"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6" name="Freeform 196"/>
            <p:cNvSpPr>
              <a:spLocks/>
            </p:cNvSpPr>
            <p:nvPr/>
          </p:nvSpPr>
          <p:spPr bwMode="auto">
            <a:xfrm>
              <a:off x="1585" y="2241"/>
              <a:ext cx="53" cy="53"/>
            </a:xfrm>
            <a:custGeom>
              <a:avLst/>
              <a:gdLst>
                <a:gd name="T0" fmla="*/ 8 w 57"/>
                <a:gd name="T1" fmla="*/ 15 h 57"/>
                <a:gd name="T2" fmla="*/ 42 w 57"/>
                <a:gd name="T3" fmla="*/ 8 h 57"/>
                <a:gd name="T4" fmla="*/ 49 w 57"/>
                <a:gd name="T5" fmla="*/ 42 h 57"/>
                <a:gd name="T6" fmla="*/ 15 w 57"/>
                <a:gd name="T7" fmla="*/ 49 h 57"/>
                <a:gd name="T8" fmla="*/ 8 w 57"/>
                <a:gd name="T9" fmla="*/ 15 h 57"/>
              </a:gdLst>
              <a:ahLst/>
              <a:cxnLst>
                <a:cxn ang="0">
                  <a:pos x="T0" y="T1"/>
                </a:cxn>
                <a:cxn ang="0">
                  <a:pos x="T2" y="T3"/>
                </a:cxn>
                <a:cxn ang="0">
                  <a:pos x="T4" y="T5"/>
                </a:cxn>
                <a:cxn ang="0">
                  <a:pos x="T6" y="T7"/>
                </a:cxn>
                <a:cxn ang="0">
                  <a:pos x="T8" y="T9"/>
                </a:cxn>
              </a:cxnLst>
              <a:rect l="0" t="0" r="r" b="b"/>
              <a:pathLst>
                <a:path w="57" h="57">
                  <a:moveTo>
                    <a:pt x="8" y="15"/>
                  </a:moveTo>
                  <a:cubicBezTo>
                    <a:pt x="15" y="4"/>
                    <a:pt x="31" y="0"/>
                    <a:pt x="42" y="8"/>
                  </a:cubicBezTo>
                  <a:cubicBezTo>
                    <a:pt x="53" y="15"/>
                    <a:pt x="57" y="31"/>
                    <a:pt x="49" y="42"/>
                  </a:cubicBezTo>
                  <a:cubicBezTo>
                    <a:pt x="42" y="53"/>
                    <a:pt x="26" y="57"/>
                    <a:pt x="15" y="49"/>
                  </a:cubicBezTo>
                  <a:cubicBezTo>
                    <a:pt x="3" y="42"/>
                    <a:pt x="0" y="26"/>
                    <a:pt x="8" y="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7" name="Freeform 197"/>
            <p:cNvSpPr>
              <a:spLocks/>
            </p:cNvSpPr>
            <p:nvPr/>
          </p:nvSpPr>
          <p:spPr bwMode="auto">
            <a:xfrm>
              <a:off x="1593" y="2185"/>
              <a:ext cx="83" cy="95"/>
            </a:xfrm>
            <a:custGeom>
              <a:avLst/>
              <a:gdLst>
                <a:gd name="T0" fmla="*/ 83 w 83"/>
                <a:gd name="T1" fmla="*/ 21 h 95"/>
                <a:gd name="T2" fmla="*/ 50 w 83"/>
                <a:gd name="T3" fmla="*/ 0 h 95"/>
                <a:gd name="T4" fmla="*/ 0 w 83"/>
                <a:gd name="T5" fmla="*/ 70 h 95"/>
                <a:gd name="T6" fmla="*/ 38 w 83"/>
                <a:gd name="T7" fmla="*/ 95 h 95"/>
                <a:gd name="T8" fmla="*/ 83 w 83"/>
                <a:gd name="T9" fmla="*/ 21 h 95"/>
              </a:gdLst>
              <a:ahLst/>
              <a:cxnLst>
                <a:cxn ang="0">
                  <a:pos x="T0" y="T1"/>
                </a:cxn>
                <a:cxn ang="0">
                  <a:pos x="T2" y="T3"/>
                </a:cxn>
                <a:cxn ang="0">
                  <a:pos x="T4" y="T5"/>
                </a:cxn>
                <a:cxn ang="0">
                  <a:pos x="T6" y="T7"/>
                </a:cxn>
                <a:cxn ang="0">
                  <a:pos x="T8" y="T9"/>
                </a:cxn>
              </a:cxnLst>
              <a:rect l="0" t="0" r="r" b="b"/>
              <a:pathLst>
                <a:path w="83" h="95">
                  <a:moveTo>
                    <a:pt x="83" y="21"/>
                  </a:moveTo>
                  <a:lnTo>
                    <a:pt x="50" y="0"/>
                  </a:lnTo>
                  <a:lnTo>
                    <a:pt x="0" y="70"/>
                  </a:lnTo>
                  <a:lnTo>
                    <a:pt x="38" y="95"/>
                  </a:lnTo>
                  <a:lnTo>
                    <a:pt x="83" y="2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8" name="Freeform 198"/>
            <p:cNvSpPr>
              <a:spLocks/>
            </p:cNvSpPr>
            <p:nvPr/>
          </p:nvSpPr>
          <p:spPr bwMode="auto">
            <a:xfrm>
              <a:off x="1644" y="2176"/>
              <a:ext cx="37" cy="30"/>
            </a:xfrm>
            <a:custGeom>
              <a:avLst/>
              <a:gdLst>
                <a:gd name="T0" fmla="*/ 37 w 37"/>
                <a:gd name="T1" fmla="*/ 21 h 30"/>
                <a:gd name="T2" fmla="*/ 6 w 37"/>
                <a:gd name="T3" fmla="*/ 0 h 30"/>
                <a:gd name="T4" fmla="*/ 0 w 37"/>
                <a:gd name="T5" fmla="*/ 9 h 30"/>
                <a:gd name="T6" fmla="*/ 31 w 37"/>
                <a:gd name="T7" fmla="*/ 30 h 30"/>
                <a:gd name="T8" fmla="*/ 37 w 37"/>
                <a:gd name="T9" fmla="*/ 21 h 30"/>
              </a:gdLst>
              <a:ahLst/>
              <a:cxnLst>
                <a:cxn ang="0">
                  <a:pos x="T0" y="T1"/>
                </a:cxn>
                <a:cxn ang="0">
                  <a:pos x="T2" y="T3"/>
                </a:cxn>
                <a:cxn ang="0">
                  <a:pos x="T4" y="T5"/>
                </a:cxn>
                <a:cxn ang="0">
                  <a:pos x="T6" y="T7"/>
                </a:cxn>
                <a:cxn ang="0">
                  <a:pos x="T8" y="T9"/>
                </a:cxn>
              </a:cxnLst>
              <a:rect l="0" t="0" r="r" b="b"/>
              <a:pathLst>
                <a:path w="37" h="30">
                  <a:moveTo>
                    <a:pt x="37" y="21"/>
                  </a:moveTo>
                  <a:lnTo>
                    <a:pt x="6" y="0"/>
                  </a:lnTo>
                  <a:lnTo>
                    <a:pt x="0" y="9"/>
                  </a:lnTo>
                  <a:lnTo>
                    <a:pt x="31" y="30"/>
                  </a:lnTo>
                  <a:lnTo>
                    <a:pt x="37" y="2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grpSp>
      <p:sp>
        <p:nvSpPr>
          <p:cNvPr id="2" name="Title 1"/>
          <p:cNvSpPr>
            <a:spLocks noGrp="1"/>
          </p:cNvSpPr>
          <p:nvPr>
            <p:ph type="title"/>
          </p:nvPr>
        </p:nvSpPr>
        <p:spPr>
          <a:xfrm>
            <a:off x="372630" y="183049"/>
            <a:ext cx="6497234" cy="731838"/>
          </a:xfrm>
        </p:spPr>
        <p:txBody>
          <a:bodyPr/>
          <a:lstStyle/>
          <a:p>
            <a:r>
              <a:rPr lang="en-US" sz="4800"/>
              <a:t>IBM DB2 Pre-SSMA Query Guidance</a:t>
            </a:r>
          </a:p>
        </p:txBody>
      </p:sp>
      <p:sp>
        <p:nvSpPr>
          <p:cNvPr id="199" name="Title 1"/>
          <p:cNvSpPr txBox="1">
            <a:spLocks/>
          </p:cNvSpPr>
          <p:nvPr/>
        </p:nvSpPr>
        <p:spPr>
          <a:xfrm>
            <a:off x="264978" y="4998450"/>
            <a:ext cx="5521427" cy="1851612"/>
          </a:xfrm>
          <a:prstGeom prst="rect">
            <a:avLst/>
          </a:prstGeom>
        </p:spPr>
        <p:txBody>
          <a:bodyPr vert="horz" wrap="square" lIns="0" tIns="0" rIns="0" bIns="0" rtlCol="0" anchor="t">
            <a:noAutofit/>
          </a:bodyPr>
          <a:lstStyle>
            <a:lvl1pPr algn="l" defTabSz="932742" rtl="0" eaLnBrk="1" latinLnBrk="0" hangingPunct="1">
              <a:lnSpc>
                <a:spcPct val="90000"/>
              </a:lnSpc>
              <a:spcBef>
                <a:spcPct val="0"/>
              </a:spcBef>
              <a:buNone/>
              <a:defRPr lang="en-US" sz="2400" b="0" kern="1200" cap="none" spc="-50" baseline="0">
                <a:ln w="3175">
                  <a:noFill/>
                </a:ln>
                <a:solidFill>
                  <a:schemeClr val="tx1">
                    <a:lumMod val="50000"/>
                  </a:schemeClr>
                </a:solidFill>
                <a:effectLst/>
                <a:latin typeface="Segoe UI Semilight" panose="020B0402040204020203" pitchFamily="34" charset="0"/>
                <a:ea typeface="+mn-ea"/>
                <a:cs typeface="Segoe UI Semilight" panose="020B0402040204020203" pitchFamily="34" charset="0"/>
              </a:defRPr>
            </a:lvl1pPr>
          </a:lstStyle>
          <a:p>
            <a:endParaRPr lang="en-US" sz="1400" dirty="0"/>
          </a:p>
          <a:p>
            <a:endParaRPr lang="en-US" sz="1400" dirty="0"/>
          </a:p>
          <a:p>
            <a:endParaRPr lang="en-US" sz="1400" dirty="0"/>
          </a:p>
          <a:p>
            <a:endParaRPr lang="en-US" sz="1400" b="1" dirty="0"/>
          </a:p>
          <a:p>
            <a:endParaRPr lang="en-US" sz="1400" b="1" dirty="0"/>
          </a:p>
          <a:p>
            <a:endParaRPr lang="en-US" sz="1400" b="1" dirty="0"/>
          </a:p>
          <a:p>
            <a:endParaRPr lang="en-US" sz="1400" b="1" dirty="0"/>
          </a:p>
          <a:p>
            <a:endParaRPr lang="en-US" sz="1400" dirty="0"/>
          </a:p>
          <a:p>
            <a:r>
              <a:rPr lang="en-US" sz="1400" i="1" dirty="0"/>
              <a:t>March 2017</a:t>
            </a:r>
          </a:p>
          <a:p>
            <a:endParaRPr lang="en-US" sz="1400" dirty="0"/>
          </a:p>
        </p:txBody>
      </p:sp>
      <p:graphicFrame>
        <p:nvGraphicFramePr>
          <p:cNvPr id="200" name="Object 199"/>
          <p:cNvGraphicFramePr>
            <a:graphicFrameLocks noChangeAspect="1"/>
          </p:cNvGraphicFramePr>
          <p:nvPr>
            <p:extLst>
              <p:ext uri="{D42A27DB-BD31-4B8C-83A1-F6EECF244321}">
                <p14:modId xmlns:p14="http://schemas.microsoft.com/office/powerpoint/2010/main" val="1266405145"/>
              </p:ext>
            </p:extLst>
          </p:nvPr>
        </p:nvGraphicFramePr>
        <p:xfrm>
          <a:off x="187340" y="3656438"/>
          <a:ext cx="1585913" cy="1660525"/>
        </p:xfrm>
        <a:graphic>
          <a:graphicData uri="http://schemas.openxmlformats.org/presentationml/2006/ole">
            <mc:AlternateContent xmlns:mc="http://schemas.openxmlformats.org/markup-compatibility/2006">
              <mc:Choice xmlns:v="urn:schemas-microsoft-com:vml" Requires="v">
                <p:oleObj spid="_x0000_s2050" name="Visio" r:id="rId3" imgW="1585952" imgH="1661271" progId="Visio.Drawing.15">
                  <p:embed/>
                </p:oleObj>
              </mc:Choice>
              <mc:Fallback>
                <p:oleObj name="Visio" r:id="rId3" imgW="1585952" imgH="1661271" progId="Visio.Drawing.15">
                  <p:embed/>
                  <p:pic>
                    <p:nvPicPr>
                      <p:cNvPr id="200" name="Object 199"/>
                      <p:cNvPicPr/>
                      <p:nvPr/>
                    </p:nvPicPr>
                    <p:blipFill>
                      <a:blip r:embed="rId4"/>
                      <a:stretch>
                        <a:fillRect/>
                      </a:stretch>
                    </p:blipFill>
                    <p:spPr>
                      <a:xfrm>
                        <a:off x="187340" y="3656438"/>
                        <a:ext cx="1585913" cy="1660525"/>
                      </a:xfrm>
                      <a:prstGeom prst="rect">
                        <a:avLst/>
                      </a:prstGeom>
                    </p:spPr>
                  </p:pic>
                </p:oleObj>
              </mc:Fallback>
            </mc:AlternateContent>
          </a:graphicData>
        </a:graphic>
      </p:graphicFrame>
    </p:spTree>
    <p:extLst>
      <p:ext uri="{BB962C8B-B14F-4D97-AF65-F5344CB8AC3E}">
        <p14:creationId xmlns:p14="http://schemas.microsoft.com/office/powerpoint/2010/main" val="128025979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0</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350837" y="144462"/>
            <a:ext cx="11582400" cy="1307298"/>
          </a:xfrm>
        </p:spPr>
        <p:txBody>
          <a:bodyPr>
            <a:normAutofit/>
          </a:bodyPr>
          <a:lstStyle/>
          <a:p>
            <a:pPr marL="0" indent="0" defTabSz="1243431">
              <a:spcBef>
                <a:spcPts val="0"/>
              </a:spcBef>
              <a:buSzTx/>
              <a:buNone/>
              <a:defRPr/>
            </a:pPr>
            <a:r>
              <a:rPr lang="en-US" sz="6000" b="1">
                <a:solidFill>
                  <a:schemeClr val="accent5">
                    <a:lumMod val="50000"/>
                    <a:lumOff val="50000"/>
                  </a:schemeClr>
                </a:solidFill>
              </a:rPr>
              <a:t>The output</a:t>
            </a:r>
          </a:p>
        </p:txBody>
      </p:sp>
      <p:sp>
        <p:nvSpPr>
          <p:cNvPr id="2" name="Rectangle 1"/>
          <p:cNvSpPr/>
          <p:nvPr/>
        </p:nvSpPr>
        <p:spPr>
          <a:xfrm>
            <a:off x="731837" y="1516062"/>
            <a:ext cx="10972800" cy="3970318"/>
          </a:xfrm>
          <a:prstGeom prst="rect">
            <a:avLst/>
          </a:prstGeom>
        </p:spPr>
        <p:txBody>
          <a:bodyPr wrap="square">
            <a:spAutoFit/>
          </a:bodyPr>
          <a:lstStyle/>
          <a:p>
            <a:r>
              <a:rPr lang="en-US">
                <a:latin typeface="Consolas" panose="020B0609020204030204" pitchFamily="49" charset="0"/>
              </a:rPr>
              <a:t>Linux,db2host,db2admin,DB2 v11.1.1.1,SAMPLE,DB2ADMIN,BLOB,1,1,1                                                                                                                                                                                                                                                                                                                                                                                                                                                                                                                                                                                                                                                                                                                                                                                                                                                                                                                                                                                                                                           Linux,db2host,db2admin,DB2 v11.1.1.1,SAMPLE,DB2ADMIN,CLOB,1,1,1                                                                                                                                                                                                                                                                                                                                                                                                                                                                                                                                                                                                                                                                                                                                                                                                                                                                                                                                                                                                                                           Linux,db2host,db2admin,DB2 v11.1.1.1,SAMPLE,SYSCAT,BLOB,4,1,1                                                                                                                                                                                                                                                                                                                                                                                                                                                                                                                                                                                                                                                                                                                                                                                                                                                                                                                                                                                                                                             Linux,db2host,db2admin,DB2 v11.1.1.1,SAMPLE,SYSCAT,CLOB,40,1,1                                                                                                                                                                                                                                                                                                                                                                                                                                                                                                                                                                                                                                                                                                                                                                                                                                                                                                                                                                                                                                            Linux,db2host,db2admin,DB2 v11.1.1.1,SAMPLE,SYSIBM,BLOB,57,1,1                                                                                                                                                                                                                                                                                                                                                                                                                                                                                                                                                                                                                                                                                                                                                                                                                                                                                                                                                                                                                                            Linux,db2host,db2admin,DB2 v11.1.1.1,SAMPLE,SYSIBM,CLOB,57,1,1                                                                                                                                                                                                                                                                                                                                                                                                                                                                                                                                                                                                                                                                                                                                                                                                                                                                                                                                                                                                                                            Linux,db2host,db2admin,DB2 v11.1.1.1,SAMPLE,SYSIBMADM,CLOB,13,1,1                                                                                                                                                                                                                                                                                                                                                                                                                                                                                                                                                                                                                                                                                                                                                                                                                                                                                                                                                                                                                                         Linux,db2host,db2admin,DB2 v11.1.1.1,SAMPLE,SYSTOOLS,BLOB,1,1,1                                                                                                                                                                                                                                                                                                                                                                                                                                                                                                                                                                                                                                                                                                                                                                                                                                                                                                                                                                                                                                           Linux,db2host,db2admin,DB2 v11.1.1.1,SAMPLE,DB2ADMIN,ALIAS,5,1,1                                                                                                                                                                                                                                                                                                                                                                                                                                                                                                                                                                                                                                                                                                                                                                                                                                                                                                               Linux,db2host,db2admin,DB2 v11.1.1.1,SAMPLE,SYSPUBLIC,ALIAS,1,1,1                                                                                                                                                                                                                                                                                                                                                                                                                                                                                                                                                                                                                                                                                                                                                                                                                                                                                                              Linux,db2host,db2admin,DB2 v11.1.1.1,SAMPLE,DB2ADMIN,MATERIALIZED QUERY TABLE,1,1,1                                                                                                                                                                                                                                                                                                                                                                                                                                                                                                                                                                                                                                                                                                                                                                                                                                                                                                               Linux,db2host,db2admin,DB2 v11.1.1.1,SAMPLE,DB2ADMIN,INDEX,27,1,1                                                                                                                                                                                                                                                                                                                                                                                                                                                                                                                                                                                                                                                                                                                                                                                                                                                                                                              Linux,db2host,db2admin,DB2 v11.1.1.1,SAMPLE,SYSIBM,INDEX,404,1,1                                                                                                                                                                                                                                                                                                                                                                                                                                                                                                                                                                                                                                                                                                                                                                                                                                                                                                               Linux,db2host,db2admin,DB2 v11.1.1.1,SAMPLE,SYSTOOLS,INDEX,3,1,1 </a:t>
            </a:r>
          </a:p>
        </p:txBody>
      </p:sp>
    </p:spTree>
    <p:extLst>
      <p:ext uri="{BB962C8B-B14F-4D97-AF65-F5344CB8AC3E}">
        <p14:creationId xmlns:p14="http://schemas.microsoft.com/office/powerpoint/2010/main" val="338819936"/>
      </p:ext>
    </p:extLst>
  </p:cSld>
  <p:clrMapOvr>
    <a:masterClrMapping/>
  </p:clrMapOvr>
  <p:transition advTm="108500">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1</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Using the output</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The Customer Assessment Calculator</a:t>
            </a:r>
          </a:p>
        </p:txBody>
      </p:sp>
      <p:pic>
        <p:nvPicPr>
          <p:cNvPr id="7" name="Picture 6"/>
          <p:cNvPicPr>
            <a:picLocks noChangeAspect="1"/>
          </p:cNvPicPr>
          <p:nvPr/>
        </p:nvPicPr>
        <p:blipFill>
          <a:blip r:embed="rId2"/>
          <a:stretch>
            <a:fillRect/>
          </a:stretch>
        </p:blipFill>
        <p:spPr>
          <a:xfrm>
            <a:off x="427037" y="1317896"/>
            <a:ext cx="11399837" cy="516499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8351456"/>
      </p:ext>
    </p:extLst>
  </p:cSld>
  <p:clrMapOvr>
    <a:masterClrMapping/>
  </p:clrMapOvr>
  <p:transition advTm="108500">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2</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Populate the Calculator with the csv</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Quick Estimate for Database Work</a:t>
            </a:r>
          </a:p>
        </p:txBody>
      </p:sp>
      <p:pic>
        <p:nvPicPr>
          <p:cNvPr id="5" name="Picture 4"/>
          <p:cNvPicPr>
            <a:picLocks noChangeAspect="1"/>
          </p:cNvPicPr>
          <p:nvPr/>
        </p:nvPicPr>
        <p:blipFill>
          <a:blip r:embed="rId2"/>
          <a:stretch>
            <a:fillRect/>
          </a:stretch>
        </p:blipFill>
        <p:spPr>
          <a:xfrm>
            <a:off x="731837" y="1287462"/>
            <a:ext cx="11095037" cy="495748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26138107"/>
      </p:ext>
    </p:extLst>
  </p:cSld>
  <p:clrMapOvr>
    <a:masterClrMapping/>
  </p:clrMapOvr>
  <p:transition advTm="108500">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 name="TextBox 2"/>
          <p:cNvSpPr txBox="1"/>
          <p:nvPr/>
        </p:nvSpPr>
        <p:spPr>
          <a:xfrm>
            <a:off x="274637" y="6460683"/>
            <a:ext cx="5007839" cy="420115"/>
          </a:xfrm>
          <a:prstGeom prst="rect">
            <a:avLst/>
          </a:prstGeom>
          <a:noFill/>
        </p:spPr>
        <p:txBody>
          <a:bodyPr wrap="square" lIns="182880" tIns="146304" rIns="182880" bIns="146304" rtlCol="0">
            <a:spAutoFit/>
          </a:bodyPr>
          <a:lstStyle/>
          <a:p>
            <a:pPr defTabSz="932688">
              <a:lnSpc>
                <a:spcPct val="90000"/>
              </a:lnSpc>
              <a:spcAft>
                <a:spcPts val="600"/>
              </a:spcAft>
            </a:pPr>
            <a:r>
              <a:rPr lang="en-US" sz="900">
                <a:solidFill>
                  <a:srgbClr val="E6E6E6"/>
                </a:solidFill>
              </a:rPr>
              <a:t>©2016 Microsoft Corporation. All rights reserved.</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72319" y="479425"/>
            <a:ext cx="1371965" cy="293894"/>
          </a:xfrm>
          <a:prstGeom prst="rect">
            <a:avLst/>
          </a:prstGeom>
        </p:spPr>
      </p:pic>
    </p:spTree>
    <p:extLst>
      <p:ext uri="{BB962C8B-B14F-4D97-AF65-F5344CB8AC3E}">
        <p14:creationId xmlns:p14="http://schemas.microsoft.com/office/powerpoint/2010/main" val="43937135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2</a:t>
            </a:fld>
            <a:endParaRPr lang="en-US" sz="2448" kern="0">
              <a:solidFill>
                <a:sysClr val="windowText" lastClr="000000"/>
              </a:solidFill>
            </a:endParaRPr>
          </a:p>
        </p:txBody>
      </p:sp>
      <p:sp>
        <p:nvSpPr>
          <p:cNvPr id="4" name="Content Placeholder 3"/>
          <p:cNvSpPr>
            <a:spLocks noGrp="1"/>
          </p:cNvSpPr>
          <p:nvPr>
            <p:ph idx="1"/>
          </p:nvPr>
        </p:nvSpPr>
        <p:spPr>
          <a:xfrm>
            <a:off x="350837" y="284964"/>
            <a:ext cx="9947769" cy="6570320"/>
          </a:xfrm>
        </p:spPr>
        <p:txBody>
          <a:bodyPr>
            <a:normAutofit lnSpcReduction="10000"/>
          </a:bodyPr>
          <a:lstStyle/>
          <a:p>
            <a:pPr marL="0" indent="0" defTabSz="1243431">
              <a:spcBef>
                <a:spcPts val="0"/>
              </a:spcBef>
              <a:buSzTx/>
              <a:buNone/>
              <a:defRPr/>
            </a:pPr>
            <a:r>
              <a:rPr lang="en-US" sz="8000">
                <a:solidFill>
                  <a:schemeClr val="accent5">
                    <a:lumMod val="50000"/>
                    <a:lumOff val="50000"/>
                  </a:schemeClr>
                </a:solidFill>
              </a:rPr>
              <a:t>What is it?</a:t>
            </a:r>
          </a:p>
          <a:p>
            <a:pPr marL="0" indent="0" defTabSz="1243431">
              <a:spcBef>
                <a:spcPts val="0"/>
              </a:spcBef>
              <a:buSzTx/>
              <a:buNone/>
              <a:defRPr/>
            </a:pPr>
            <a:endParaRPr lang="en-US" sz="1200">
              <a:solidFill>
                <a:schemeClr val="accent5">
                  <a:lumMod val="50000"/>
                  <a:lumOff val="50000"/>
                </a:schemeClr>
              </a:solidFill>
            </a:endParaRPr>
          </a:p>
          <a:p>
            <a:pPr defTabSz="1243431">
              <a:spcBef>
                <a:spcPts val="1632"/>
              </a:spcBef>
              <a:spcAft>
                <a:spcPts val="816"/>
              </a:spcAft>
              <a:buSzTx/>
              <a:defRPr/>
            </a:pPr>
            <a:r>
              <a:rPr lang="en-US" sz="4000">
                <a:solidFill>
                  <a:schemeClr val="accent5">
                    <a:lumMod val="50000"/>
                    <a:lumOff val="50000"/>
                  </a:schemeClr>
                </a:solidFill>
              </a:rPr>
              <a:t>SQL query that hits IBM DB2 system tables </a:t>
            </a:r>
          </a:p>
          <a:p>
            <a:pPr lvl="1" defTabSz="1243431">
              <a:spcBef>
                <a:spcPts val="1632"/>
              </a:spcBef>
              <a:spcAft>
                <a:spcPts val="816"/>
              </a:spcAft>
              <a:buSzTx/>
              <a:defRPr/>
            </a:pPr>
            <a:r>
              <a:rPr lang="en-US">
                <a:solidFill>
                  <a:schemeClr val="accent5">
                    <a:lumMod val="50000"/>
                    <a:lumOff val="50000"/>
                  </a:schemeClr>
                </a:solidFill>
              </a:rPr>
              <a:t>So far, only tested so far on IBM DB2 LUW version 11.1</a:t>
            </a:r>
          </a:p>
          <a:p>
            <a:pPr lvl="1" defTabSz="1243431">
              <a:spcBef>
                <a:spcPts val="1632"/>
              </a:spcBef>
              <a:spcAft>
                <a:spcPts val="816"/>
              </a:spcAft>
              <a:buSzTx/>
              <a:defRPr/>
            </a:pPr>
            <a:r>
              <a:rPr lang="en-US">
                <a:solidFill>
                  <a:schemeClr val="accent5">
                    <a:lumMod val="50000"/>
                    <a:lumOff val="50000"/>
                  </a:schemeClr>
                </a:solidFill>
              </a:rPr>
              <a:t>Non-evasive query</a:t>
            </a:r>
          </a:p>
          <a:p>
            <a:pPr lvl="1" defTabSz="1243431">
              <a:spcBef>
                <a:spcPts val="1632"/>
              </a:spcBef>
              <a:spcAft>
                <a:spcPts val="816"/>
              </a:spcAft>
              <a:buSzTx/>
              <a:defRPr/>
            </a:pPr>
            <a:r>
              <a:rPr lang="en-US">
                <a:solidFill>
                  <a:schemeClr val="accent5">
                    <a:lumMod val="50000"/>
                    <a:lumOff val="50000"/>
                  </a:schemeClr>
                </a:solidFill>
              </a:rPr>
              <a:t>Count of objects by schema and object type</a:t>
            </a:r>
          </a:p>
          <a:p>
            <a:pPr lvl="1" defTabSz="1243431">
              <a:spcBef>
                <a:spcPts val="1632"/>
              </a:spcBef>
              <a:spcAft>
                <a:spcPts val="816"/>
              </a:spcAft>
              <a:buSzTx/>
              <a:defRPr/>
            </a:pPr>
            <a:r>
              <a:rPr lang="en-US">
                <a:solidFill>
                  <a:schemeClr val="accent5">
                    <a:lumMod val="50000"/>
                    <a:lumOff val="50000"/>
                  </a:schemeClr>
                </a:solidFill>
              </a:rPr>
              <a:t>Gives a rough estimate of ‘Raw Data’ in each schema</a:t>
            </a:r>
          </a:p>
          <a:p>
            <a:pPr lvl="1" defTabSz="1243431">
              <a:spcBef>
                <a:spcPts val="1632"/>
              </a:spcBef>
              <a:spcAft>
                <a:spcPts val="816"/>
              </a:spcAft>
              <a:buSzTx/>
              <a:defRPr/>
            </a:pPr>
            <a:r>
              <a:rPr lang="en-US">
                <a:solidFill>
                  <a:schemeClr val="accent5">
                    <a:lumMod val="50000"/>
                    <a:lumOff val="50000"/>
                  </a:schemeClr>
                </a:solidFill>
              </a:rPr>
              <a:t>Provides a sizing of tables in each schema</a:t>
            </a:r>
          </a:p>
          <a:p>
            <a:pPr defTabSz="1243431">
              <a:spcBef>
                <a:spcPts val="1632"/>
              </a:spcBef>
              <a:spcAft>
                <a:spcPts val="816"/>
              </a:spcAft>
              <a:buSzTx/>
              <a:defRPr/>
            </a:pPr>
            <a:r>
              <a:rPr lang="en-US" sz="4000">
                <a:solidFill>
                  <a:schemeClr val="accent5">
                    <a:lumMod val="50000"/>
                    <a:lumOff val="50000"/>
                  </a:schemeClr>
                </a:solidFill>
              </a:rPr>
              <a:t>Results are stored in a CSV</a:t>
            </a:r>
          </a:p>
          <a:p>
            <a:pPr marL="0" indent="0" defTabSz="1243431">
              <a:spcBef>
                <a:spcPts val="0"/>
              </a:spcBef>
              <a:buSzTx/>
              <a:buNone/>
              <a:defRPr/>
            </a:pPr>
            <a:endParaRPr lang="en-US" sz="6000">
              <a:solidFill>
                <a:schemeClr val="accent5">
                  <a:lumMod val="50000"/>
                  <a:lumOff val="50000"/>
                </a:schemeClr>
              </a:solidFill>
            </a:endParaRPr>
          </a:p>
        </p:txBody>
      </p:sp>
    </p:spTree>
    <p:extLst>
      <p:ext uri="{BB962C8B-B14F-4D97-AF65-F5344CB8AC3E}">
        <p14:creationId xmlns:p14="http://schemas.microsoft.com/office/powerpoint/2010/main" val="3106964464"/>
      </p:ext>
    </p:extLst>
  </p:cSld>
  <p:clrMapOvr>
    <a:masterClrMapping/>
  </p:clrMapOvr>
  <p:transition advTm="108500">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3</a:t>
            </a:fld>
            <a:endParaRPr lang="en-US" sz="2448" kern="0">
              <a:solidFill>
                <a:sysClr val="windowText" lastClr="000000"/>
              </a:solidFill>
            </a:endParaRPr>
          </a:p>
        </p:txBody>
      </p:sp>
      <p:sp>
        <p:nvSpPr>
          <p:cNvPr id="4" name="Content Placeholder 3"/>
          <p:cNvSpPr>
            <a:spLocks noGrp="1"/>
          </p:cNvSpPr>
          <p:nvPr>
            <p:ph idx="1"/>
          </p:nvPr>
        </p:nvSpPr>
        <p:spPr>
          <a:xfrm>
            <a:off x="350837" y="284964"/>
            <a:ext cx="9947769" cy="6570320"/>
          </a:xfrm>
        </p:spPr>
        <p:txBody>
          <a:bodyPr>
            <a:normAutofit/>
          </a:bodyPr>
          <a:lstStyle/>
          <a:p>
            <a:pPr marL="0" indent="0" defTabSz="1243431">
              <a:spcBef>
                <a:spcPts val="0"/>
              </a:spcBef>
              <a:buSzTx/>
              <a:buNone/>
              <a:defRPr/>
            </a:pPr>
            <a:r>
              <a:rPr lang="en-US" sz="6600">
                <a:solidFill>
                  <a:schemeClr val="accent5">
                    <a:lumMod val="50000"/>
                    <a:lumOff val="50000"/>
                  </a:schemeClr>
                </a:solidFill>
              </a:rPr>
              <a:t>Looking for testers and code reviewers!</a:t>
            </a:r>
          </a:p>
          <a:p>
            <a:pPr marL="0" indent="0" defTabSz="1243431">
              <a:spcBef>
                <a:spcPts val="0"/>
              </a:spcBef>
              <a:buSzTx/>
              <a:buNone/>
              <a:defRPr/>
            </a:pPr>
            <a:endParaRPr lang="en-US" sz="800">
              <a:solidFill>
                <a:schemeClr val="accent5">
                  <a:lumMod val="50000"/>
                  <a:lumOff val="50000"/>
                </a:schemeClr>
              </a:solidFill>
            </a:endParaRPr>
          </a:p>
          <a:p>
            <a:pPr defTabSz="1243431">
              <a:spcBef>
                <a:spcPts val="1632"/>
              </a:spcBef>
              <a:spcAft>
                <a:spcPts val="816"/>
              </a:spcAft>
              <a:buSzTx/>
              <a:defRPr/>
            </a:pPr>
            <a:r>
              <a:rPr lang="en-US" sz="2000">
                <a:solidFill>
                  <a:schemeClr val="accent5">
                    <a:lumMod val="50000"/>
                    <a:lumOff val="50000"/>
                  </a:schemeClr>
                </a:solidFill>
                <a:latin typeface="+mn-lt"/>
              </a:rPr>
              <a:t>Would like to test on other DB2 platforms and editions:</a:t>
            </a:r>
          </a:p>
          <a:p>
            <a:pPr lvl="1" defTabSz="1243431">
              <a:spcBef>
                <a:spcPts val="1632"/>
              </a:spcBef>
              <a:spcAft>
                <a:spcPts val="816"/>
              </a:spcAft>
              <a:buSzTx/>
              <a:defRPr/>
            </a:pPr>
            <a:r>
              <a:rPr lang="en-US" sz="2000">
                <a:solidFill>
                  <a:schemeClr val="accent5">
                    <a:lumMod val="50000"/>
                    <a:lumOff val="50000"/>
                  </a:schemeClr>
                </a:solidFill>
              </a:rPr>
              <a:t>DB2 </a:t>
            </a:r>
            <a:r>
              <a:rPr lang="en-US" sz="2000" err="1">
                <a:solidFill>
                  <a:schemeClr val="accent5">
                    <a:lumMod val="50000"/>
                    <a:lumOff val="50000"/>
                  </a:schemeClr>
                </a:solidFill>
              </a:rPr>
              <a:t>zOS</a:t>
            </a:r>
            <a:endParaRPr lang="en-US" sz="2000">
              <a:solidFill>
                <a:schemeClr val="accent5">
                  <a:lumMod val="50000"/>
                  <a:lumOff val="50000"/>
                </a:schemeClr>
              </a:solidFill>
            </a:endParaRPr>
          </a:p>
          <a:p>
            <a:pPr lvl="1" defTabSz="1243431">
              <a:spcBef>
                <a:spcPts val="1632"/>
              </a:spcBef>
              <a:spcAft>
                <a:spcPts val="816"/>
              </a:spcAft>
              <a:buSzTx/>
              <a:defRPr/>
            </a:pPr>
            <a:r>
              <a:rPr lang="en-US" sz="2000">
                <a:solidFill>
                  <a:schemeClr val="accent5">
                    <a:lumMod val="50000"/>
                    <a:lumOff val="50000"/>
                  </a:schemeClr>
                </a:solidFill>
              </a:rPr>
              <a:t>Versions prior to 11.1</a:t>
            </a:r>
          </a:p>
          <a:p>
            <a:pPr marL="0" indent="0" defTabSz="1243431">
              <a:spcBef>
                <a:spcPts val="0"/>
              </a:spcBef>
              <a:buSzTx/>
              <a:buNone/>
              <a:defRPr/>
            </a:pPr>
            <a:endParaRPr lang="en-US" sz="4800">
              <a:solidFill>
                <a:schemeClr val="accent5">
                  <a:lumMod val="50000"/>
                  <a:lumOff val="50000"/>
                </a:schemeClr>
              </a:solidFill>
            </a:endParaRPr>
          </a:p>
        </p:txBody>
      </p:sp>
    </p:spTree>
    <p:extLst>
      <p:ext uri="{BB962C8B-B14F-4D97-AF65-F5344CB8AC3E}">
        <p14:creationId xmlns:p14="http://schemas.microsoft.com/office/powerpoint/2010/main" val="3949268566"/>
      </p:ext>
    </p:extLst>
  </p:cSld>
  <p:clrMapOvr>
    <a:masterClrMapping/>
  </p:clrMapOvr>
  <p:transition advTm="108500">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4</a:t>
            </a:fld>
            <a:endParaRPr lang="en-US" sz="2448" kern="0">
              <a:solidFill>
                <a:sysClr val="windowText" lastClr="000000"/>
              </a:solidFill>
            </a:endParaRPr>
          </a:p>
        </p:txBody>
      </p:sp>
      <p:sp>
        <p:nvSpPr>
          <p:cNvPr id="4" name="Content Placeholder 3"/>
          <p:cNvSpPr>
            <a:spLocks noGrp="1"/>
          </p:cNvSpPr>
          <p:nvPr>
            <p:ph idx="1"/>
          </p:nvPr>
        </p:nvSpPr>
        <p:spPr>
          <a:xfrm>
            <a:off x="350837" y="284964"/>
            <a:ext cx="11582400" cy="6570320"/>
          </a:xfrm>
        </p:spPr>
        <p:txBody>
          <a:bodyPr>
            <a:normAutofit lnSpcReduction="10000"/>
          </a:bodyPr>
          <a:lstStyle/>
          <a:p>
            <a:pPr marL="0" indent="0" defTabSz="1243431">
              <a:spcBef>
                <a:spcPts val="0"/>
              </a:spcBef>
              <a:buSzTx/>
              <a:buNone/>
              <a:defRPr/>
            </a:pPr>
            <a:r>
              <a:rPr lang="en-US" sz="8000">
                <a:solidFill>
                  <a:schemeClr val="accent5">
                    <a:lumMod val="50000"/>
                    <a:lumOff val="50000"/>
                  </a:schemeClr>
                </a:solidFill>
              </a:rPr>
              <a:t>Benefits</a:t>
            </a:r>
          </a:p>
          <a:p>
            <a:pPr marL="0" indent="0" defTabSz="1243431">
              <a:spcBef>
                <a:spcPts val="0"/>
              </a:spcBef>
              <a:buSzTx/>
              <a:buNone/>
              <a:defRPr/>
            </a:pPr>
            <a:endParaRPr lang="en-US" sz="1200">
              <a:solidFill>
                <a:schemeClr val="accent5">
                  <a:lumMod val="50000"/>
                  <a:lumOff val="50000"/>
                </a:schemeClr>
              </a:solidFill>
            </a:endParaRPr>
          </a:p>
          <a:p>
            <a:pPr defTabSz="1243431">
              <a:spcBef>
                <a:spcPts val="1632"/>
              </a:spcBef>
              <a:spcAft>
                <a:spcPts val="816"/>
              </a:spcAft>
              <a:buSzTx/>
              <a:defRPr/>
            </a:pPr>
            <a:r>
              <a:rPr lang="en-US" sz="3600">
                <a:solidFill>
                  <a:schemeClr val="accent5">
                    <a:lumMod val="50000"/>
                    <a:lumOff val="50000"/>
                  </a:schemeClr>
                </a:solidFill>
              </a:rPr>
              <a:t>Helps classify schemas </a:t>
            </a:r>
          </a:p>
          <a:p>
            <a:pPr marL="626033" lvl="2" indent="0" defTabSz="1243431">
              <a:spcBef>
                <a:spcPts val="1632"/>
              </a:spcBef>
              <a:spcAft>
                <a:spcPts val="816"/>
              </a:spcAft>
              <a:buSzTx/>
              <a:buNone/>
              <a:defRPr/>
            </a:pPr>
            <a:r>
              <a:rPr lang="en-US">
                <a:solidFill>
                  <a:schemeClr val="accent5">
                    <a:lumMod val="50000"/>
                    <a:lumOff val="50000"/>
                  </a:schemeClr>
                </a:solidFill>
              </a:rPr>
              <a:t>(simple, moderate, complex, custom)</a:t>
            </a:r>
          </a:p>
          <a:p>
            <a:pPr defTabSz="1243431">
              <a:spcBef>
                <a:spcPts val="1632"/>
              </a:spcBef>
              <a:spcAft>
                <a:spcPts val="816"/>
              </a:spcAft>
              <a:buSzTx/>
              <a:defRPr/>
            </a:pPr>
            <a:r>
              <a:rPr lang="en-US" sz="3600">
                <a:solidFill>
                  <a:schemeClr val="accent5">
                    <a:lumMod val="50000"/>
                    <a:lumOff val="50000"/>
                  </a:schemeClr>
                </a:solidFill>
              </a:rPr>
              <a:t>Helps target high-profile schemas for analysis</a:t>
            </a:r>
          </a:p>
          <a:p>
            <a:pPr defTabSz="1243431">
              <a:spcBef>
                <a:spcPts val="1632"/>
              </a:spcBef>
              <a:spcAft>
                <a:spcPts val="816"/>
              </a:spcAft>
              <a:buSzTx/>
              <a:defRPr/>
            </a:pPr>
            <a:r>
              <a:rPr lang="en-US" sz="3600">
                <a:solidFill>
                  <a:schemeClr val="accent5">
                    <a:lumMod val="50000"/>
                    <a:lumOff val="50000"/>
                  </a:schemeClr>
                </a:solidFill>
              </a:rPr>
              <a:t>Helps identify user accounts too</a:t>
            </a:r>
          </a:p>
          <a:p>
            <a:pPr defTabSz="1243431">
              <a:spcBef>
                <a:spcPts val="1632"/>
              </a:spcBef>
              <a:spcAft>
                <a:spcPts val="816"/>
              </a:spcAft>
              <a:buSzTx/>
              <a:defRPr/>
            </a:pPr>
            <a:r>
              <a:rPr lang="en-US" sz="3600">
                <a:solidFill>
                  <a:schemeClr val="accent5">
                    <a:lumMod val="50000"/>
                    <a:lumOff val="50000"/>
                  </a:schemeClr>
                </a:solidFill>
              </a:rPr>
              <a:t>Sizing information</a:t>
            </a:r>
          </a:p>
          <a:p>
            <a:pPr defTabSz="1243431">
              <a:spcBef>
                <a:spcPts val="1632"/>
              </a:spcBef>
              <a:spcAft>
                <a:spcPts val="816"/>
              </a:spcAft>
              <a:buSzTx/>
              <a:defRPr/>
            </a:pPr>
            <a:r>
              <a:rPr lang="en-US" sz="3600">
                <a:solidFill>
                  <a:schemeClr val="accent5">
                    <a:lumMod val="50000"/>
                    <a:lumOff val="50000"/>
                  </a:schemeClr>
                </a:solidFill>
              </a:rPr>
              <a:t>Goes beyond identifying SSMA objects (only a couple, working on adding more)</a:t>
            </a:r>
          </a:p>
          <a:p>
            <a:pPr marL="0" indent="0" defTabSz="1243431">
              <a:spcBef>
                <a:spcPts val="0"/>
              </a:spcBef>
              <a:buSzTx/>
              <a:buNone/>
              <a:defRPr/>
            </a:pPr>
            <a:endParaRPr lang="en-US" sz="6000">
              <a:solidFill>
                <a:schemeClr val="accent5">
                  <a:lumMod val="50000"/>
                  <a:lumOff val="50000"/>
                </a:schemeClr>
              </a:solidFill>
            </a:endParaRPr>
          </a:p>
        </p:txBody>
      </p:sp>
    </p:spTree>
    <p:extLst>
      <p:ext uri="{BB962C8B-B14F-4D97-AF65-F5344CB8AC3E}">
        <p14:creationId xmlns:p14="http://schemas.microsoft.com/office/powerpoint/2010/main" val="3077115294"/>
      </p:ext>
    </p:extLst>
  </p:cSld>
  <p:clrMapOvr>
    <a:masterClrMapping/>
  </p:clrMapOvr>
  <p:transition advTm="108500">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4800">
                <a:solidFill>
                  <a:schemeClr val="accent4">
                    <a:lumMod val="60000"/>
                    <a:lumOff val="40000"/>
                  </a:schemeClr>
                </a:solidFill>
              </a:rPr>
              <a:t>Object Types</a:t>
            </a:r>
          </a:p>
        </p:txBody>
      </p:sp>
      <p:sp>
        <p:nvSpPr>
          <p:cNvPr id="4" name="TextBox 3"/>
          <p:cNvSpPr txBox="1"/>
          <p:nvPr/>
        </p:nvSpPr>
        <p:spPr>
          <a:xfrm>
            <a:off x="655637" y="906461"/>
            <a:ext cx="3200400" cy="505369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Function</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Procedur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Method</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Index</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Materialized Query Tabl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Sequenc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Alias</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abl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rigger</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View</a:t>
            </a:r>
          </a:p>
          <a:p>
            <a:pPr marL="342900" indent="-342900">
              <a:lnSpc>
                <a:spcPct val="90000"/>
              </a:lnSpc>
              <a:spcAft>
                <a:spcPts val="600"/>
              </a:spcAft>
              <a:buFont typeface="Arial" panose="020B0604020202020204" pitchFamily="34" charset="0"/>
              <a:buChar char="•"/>
            </a:pPr>
            <a:endParaRPr lang="en-US" sz="2400" err="1">
              <a:solidFill>
                <a:schemeClr val="accent4">
                  <a:lumMod val="60000"/>
                  <a:lumOff val="40000"/>
                </a:schemeClr>
              </a:solidFill>
            </a:endParaRPr>
          </a:p>
        </p:txBody>
      </p:sp>
      <p:sp>
        <p:nvSpPr>
          <p:cNvPr id="39" name="TextBox 38"/>
          <p:cNvSpPr txBox="1"/>
          <p:nvPr/>
        </p:nvSpPr>
        <p:spPr>
          <a:xfrm>
            <a:off x="3856037" y="754062"/>
            <a:ext cx="3551237" cy="1446550"/>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rgbClr val="C00000"/>
                </a:solidFill>
              </a:rPr>
              <a:t>BLOB</a:t>
            </a:r>
          </a:p>
          <a:p>
            <a:pPr marL="342900" indent="-342900">
              <a:lnSpc>
                <a:spcPct val="90000"/>
              </a:lnSpc>
              <a:spcAft>
                <a:spcPts val="600"/>
              </a:spcAft>
              <a:buFont typeface="Arial" panose="020B0604020202020204" pitchFamily="34" charset="0"/>
              <a:buChar char="•"/>
            </a:pPr>
            <a:r>
              <a:rPr lang="en-US" sz="2400">
                <a:solidFill>
                  <a:srgbClr val="C00000"/>
                </a:solidFill>
              </a:rPr>
              <a:t>CLOB</a:t>
            </a:r>
          </a:p>
          <a:p>
            <a:pPr marL="342900" indent="-342900">
              <a:lnSpc>
                <a:spcPct val="90000"/>
              </a:lnSpc>
              <a:spcAft>
                <a:spcPts val="600"/>
              </a:spcAft>
              <a:buFont typeface="Arial" panose="020B0604020202020204" pitchFamily="34" charset="0"/>
              <a:buChar char="•"/>
            </a:pPr>
            <a:r>
              <a:rPr lang="en-US" sz="2400">
                <a:solidFill>
                  <a:srgbClr val="C00000"/>
                </a:solidFill>
              </a:rPr>
              <a:t>Table Partition</a:t>
            </a:r>
          </a:p>
        </p:txBody>
      </p:sp>
      <p:sp>
        <p:nvSpPr>
          <p:cNvPr id="41" name="TextBox 40"/>
          <p:cNvSpPr txBox="1"/>
          <p:nvPr/>
        </p:nvSpPr>
        <p:spPr>
          <a:xfrm>
            <a:off x="7328897" y="754062"/>
            <a:ext cx="3200400" cy="185589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i="1">
                <a:solidFill>
                  <a:srgbClr val="C00000"/>
                </a:solidFill>
              </a:rPr>
              <a:t>Raw Data (MB)</a:t>
            </a:r>
          </a:p>
          <a:p>
            <a:pPr marL="342900" indent="-342900">
              <a:lnSpc>
                <a:spcPct val="90000"/>
              </a:lnSpc>
              <a:spcAft>
                <a:spcPts val="600"/>
              </a:spcAft>
              <a:buFont typeface="Arial" panose="020B0604020202020204" pitchFamily="34" charset="0"/>
              <a:buChar char="•"/>
            </a:pPr>
            <a:r>
              <a:rPr lang="en-US" sz="2400" b="1" i="1">
                <a:solidFill>
                  <a:srgbClr val="C00000"/>
                </a:solidFill>
              </a:rPr>
              <a:t>Table Sizing</a:t>
            </a:r>
          </a:p>
          <a:p>
            <a:pPr marL="342900" indent="-342900">
              <a:lnSpc>
                <a:spcPct val="90000"/>
              </a:lnSpc>
              <a:spcAft>
                <a:spcPts val="600"/>
              </a:spcAft>
              <a:buFont typeface="Arial" panose="020B0604020202020204" pitchFamily="34" charset="0"/>
              <a:buChar char="•"/>
            </a:pPr>
            <a:endParaRPr lang="en-US" sz="2400" b="1" i="1">
              <a:solidFill>
                <a:srgbClr val="C00000"/>
              </a:solidFill>
            </a:endParaRPr>
          </a:p>
          <a:p>
            <a:pPr marL="342900" indent="-342900">
              <a:lnSpc>
                <a:spcPct val="90000"/>
              </a:lnSpc>
              <a:spcAft>
                <a:spcPts val="600"/>
              </a:spcAft>
              <a:buFont typeface="Arial" panose="020B0604020202020204" pitchFamily="34" charset="0"/>
              <a:buChar char="•"/>
            </a:pPr>
            <a:endParaRPr lang="en-US" sz="2400" b="1" i="1" err="1">
              <a:solidFill>
                <a:srgbClr val="C00000"/>
              </a:solidFill>
            </a:endParaRPr>
          </a:p>
        </p:txBody>
      </p:sp>
    </p:spTree>
    <p:extLst>
      <p:ext uri="{BB962C8B-B14F-4D97-AF65-F5344CB8AC3E}">
        <p14:creationId xmlns:p14="http://schemas.microsoft.com/office/powerpoint/2010/main" val="296472585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3600">
                <a:solidFill>
                  <a:schemeClr val="accent4">
                    <a:lumMod val="60000"/>
                    <a:lumOff val="40000"/>
                  </a:schemeClr>
                </a:solidFill>
              </a:rPr>
              <a:t>The query</a:t>
            </a:r>
          </a:p>
        </p:txBody>
      </p:sp>
      <p:sp>
        <p:nvSpPr>
          <p:cNvPr id="3" name="Rectangle 2"/>
          <p:cNvSpPr/>
          <p:nvPr/>
        </p:nvSpPr>
        <p:spPr>
          <a:xfrm>
            <a:off x="3017837" y="296862"/>
            <a:ext cx="8991600" cy="6694140"/>
          </a:xfrm>
          <a:prstGeom prst="rect">
            <a:avLst/>
          </a:prstGeom>
        </p:spPr>
        <p:txBody>
          <a:bodyPr wrap="square">
            <a:spAutoFit/>
          </a:bodyPr>
          <a:lstStyle/>
          <a:p>
            <a:r>
              <a:rPr lang="en-US" sz="1100">
                <a:solidFill>
                  <a:srgbClr val="00800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 BLOB and CLOB</a:t>
            </a:r>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a:t>
            </a:r>
          </a:p>
          <a:p>
            <a:endParaRPr lang="en-US" sz="1100">
              <a:solidFill>
                <a:srgbClr val="0000FF"/>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selec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OS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FF00FF"/>
                </a:solidFill>
                <a:highlight>
                  <a:srgbClr val="FFFFFF"/>
                </a:highlight>
                <a:latin typeface="Consolas" panose="020B0609020204030204" pitchFamily="49" charset="0"/>
              </a:rPr>
              <a:t>HO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N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SERVICE_LEVEL</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a:solidFill>
                  <a:srgbClr val="0000FF"/>
                </a:solidFill>
                <a:highlight>
                  <a:srgbClr val="FFFFFF"/>
                </a:highlight>
                <a:latin typeface="Consolas" panose="020B0609020204030204" pitchFamily="49" charset="0"/>
              </a:rPr>
              <a:t>SELEC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CURREN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SERVER</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FROM</a:t>
            </a:r>
            <a:r>
              <a:rPr lang="en-US" sz="1100">
                <a:solidFill>
                  <a:srgbClr val="000000"/>
                </a:solidFill>
                <a:highlight>
                  <a:srgbClr val="FFFFFF"/>
                </a:highlight>
                <a:latin typeface="Consolas" panose="020B0609020204030204" pitchFamily="49" charset="0"/>
              </a:rPr>
              <a:t> SYSIBM</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DUMMY1</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it-IT" sz="1100">
                <a:solidFill>
                  <a:srgbClr val="000000"/>
                </a:solidFill>
                <a:highlight>
                  <a:srgbClr val="FFFFFF"/>
                </a:highlight>
                <a:latin typeface="Consolas" panose="020B0609020204030204" pitchFamily="49" charset="0"/>
              </a:rPr>
              <a:t>trim</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v</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TABSCHEMA</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 </a:t>
            </a:r>
            <a:r>
              <a:rPr lang="it-IT" sz="1100">
                <a:solidFill>
                  <a:srgbClr val="FF00FF"/>
                </a:solidFill>
                <a:highlight>
                  <a:srgbClr val="FFFFFF"/>
                </a:highlight>
                <a:latin typeface="Consolas" panose="020B0609020204030204" pitchFamily="49" charset="0"/>
              </a:rPr>
              <a:t>CONCAT</a:t>
            </a:r>
            <a:r>
              <a:rPr lang="it-IT" sz="1100">
                <a:solidFill>
                  <a:srgbClr val="000000"/>
                </a:solidFill>
                <a:highlight>
                  <a:srgbClr val="FFFFFF"/>
                </a:highlight>
                <a:latin typeface="Consolas" panose="020B0609020204030204" pitchFamily="49" charset="0"/>
              </a:rPr>
              <a:t> </a:t>
            </a:r>
            <a:r>
              <a:rPr lang="it-IT" sz="1100">
                <a:solidFill>
                  <a:srgbClr val="FF000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 </a:t>
            </a:r>
            <a:r>
              <a:rPr lang="it-IT" sz="1100">
                <a:solidFill>
                  <a:srgbClr val="FF00FF"/>
                </a:solidFill>
                <a:highlight>
                  <a:srgbClr val="FFFFFF"/>
                </a:highlight>
                <a:latin typeface="Consolas" panose="020B0609020204030204" pitchFamily="49" charset="0"/>
              </a:rPr>
              <a:t>CONCAT</a:t>
            </a:r>
            <a:endParaRPr lang="it-IT"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ypename</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FF00FF"/>
                </a:solidFill>
                <a:highlight>
                  <a:srgbClr val="FFFFFF"/>
                </a:highlight>
                <a:latin typeface="Consolas" panose="020B0609020204030204" pitchFamily="49" charset="0"/>
              </a:rPr>
              <a:t>COALESCE</a:t>
            </a:r>
            <a:r>
              <a:rPr lang="en-US" sz="1100">
                <a:solidFill>
                  <a:srgbClr val="808080"/>
                </a:solidFill>
                <a:highlight>
                  <a:srgbClr val="FFFFFF"/>
                </a:highlight>
                <a:latin typeface="Consolas" panose="020B0609020204030204" pitchFamily="49" charset="0"/>
              </a:rPr>
              <a:t>(</a:t>
            </a:r>
            <a:r>
              <a:rPr lang="en-US" sz="1100">
                <a:solidFill>
                  <a:srgbClr val="FF00FF"/>
                </a:solidFill>
                <a:highlight>
                  <a:srgbClr val="FFFFFF"/>
                </a:highlight>
                <a:latin typeface="Consolas" panose="020B0609020204030204" pitchFamily="49" charset="0"/>
              </a:rPr>
              <a:t>count</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ype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1</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1,1'</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from</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syscat</a:t>
            </a:r>
            <a:r>
              <a:rPr lang="en-US" sz="1100" err="1">
                <a:solidFill>
                  <a:srgbClr val="808080"/>
                </a:solidFill>
                <a:highlight>
                  <a:srgbClr val="FFFFFF"/>
                </a:highlight>
                <a:latin typeface="Consolas" panose="020B0609020204030204" pitchFamily="49" charset="0"/>
              </a:rPr>
              <a:t>.</a:t>
            </a:r>
            <a:r>
              <a:rPr lang="en-US" sz="1100" err="1">
                <a:solidFill>
                  <a:srgbClr val="008000"/>
                </a:solidFill>
                <a:highlight>
                  <a:srgbClr val="FFFFFF"/>
                </a:highlight>
                <a:latin typeface="Consolas" panose="020B0609020204030204" pitchFamily="49" charset="0"/>
              </a:rPr>
              <a:t>columns</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v</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TABL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PROC</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ENV_GET_SYS_INFO</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TABL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PROC</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ENV_GET_INST_INFO</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where</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ypename</a:t>
            </a:r>
            <a:r>
              <a:rPr lang="en-US" sz="1100">
                <a:solidFill>
                  <a:srgbClr val="000000"/>
                </a:solidFill>
                <a:highlight>
                  <a:srgbClr val="FFFFFF"/>
                </a:highlight>
                <a:latin typeface="Consolas" panose="020B0609020204030204" pitchFamily="49" charset="0"/>
              </a:rPr>
              <a:t> </a:t>
            </a:r>
            <a:r>
              <a:rPr lang="en-US" sz="1100">
                <a:solidFill>
                  <a:srgbClr val="808080"/>
                </a:solidFill>
                <a:highlight>
                  <a:srgbClr val="FFFFFF"/>
                </a:highlight>
                <a:latin typeface="Consolas" panose="020B0609020204030204" pitchFamily="49" charset="0"/>
              </a:rPr>
              <a:t>in</a:t>
            </a:r>
            <a:r>
              <a:rPr lang="en-US" sz="1100">
                <a:solidFill>
                  <a:srgbClr val="0000FF"/>
                </a:solidFill>
                <a:highlight>
                  <a:srgbClr val="FFFFFF"/>
                </a:highlight>
                <a:latin typeface="Consolas" panose="020B0609020204030204" pitchFamily="49" charset="0"/>
              </a:rPr>
              <a:t> </a:t>
            </a:r>
            <a:r>
              <a:rPr lang="en-US" sz="1100">
                <a:solidFill>
                  <a:srgbClr val="808080"/>
                </a:solidFill>
                <a:highlight>
                  <a:srgbClr val="FFFFFF"/>
                </a:highlight>
                <a:latin typeface="Consolas" panose="020B0609020204030204" pitchFamily="49" charset="0"/>
              </a:rPr>
              <a:t>(</a:t>
            </a:r>
            <a:r>
              <a:rPr lang="en-US" sz="1100">
                <a:solidFill>
                  <a:srgbClr val="FF0000"/>
                </a:solidFill>
                <a:highlight>
                  <a:srgbClr val="FFFFFF"/>
                </a:highlight>
                <a:latin typeface="Consolas" panose="020B0609020204030204" pitchFamily="49" charset="0"/>
              </a:rPr>
              <a:t>'BLOB'</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CLOB'</a:t>
            </a:r>
            <a:r>
              <a:rPr lang="en-US" sz="1100">
                <a:solidFill>
                  <a:srgbClr val="80808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group</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by</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OS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SERVICE_LEVEL</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N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FF00FF"/>
                </a:solidFill>
                <a:highlight>
                  <a:srgbClr val="FFFFFF"/>
                </a:highlight>
                <a:latin typeface="Consolas" panose="020B0609020204030204" pitchFamily="49" charset="0"/>
              </a:rPr>
              <a:t>HO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ABSCHEMA</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ypename</a:t>
            </a:r>
            <a:r>
              <a:rPr lang="en-US" sz="1100">
                <a:solidFill>
                  <a:srgbClr val="80808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 TABLE PARTITIONS</a:t>
            </a:r>
            <a:endParaRPr lang="en-US" sz="1100">
              <a:solidFill>
                <a:srgbClr val="000000"/>
              </a:solidFill>
              <a:highlight>
                <a:srgbClr val="FFFFFF"/>
              </a:highlight>
              <a:latin typeface="Consolas" panose="020B0609020204030204" pitchFamily="49" charset="0"/>
            </a:endParaRPr>
          </a:p>
          <a:p>
            <a:r>
              <a:rPr lang="en-US" sz="1100">
                <a:solidFill>
                  <a:srgbClr val="008000"/>
                </a:solidFill>
                <a:highlight>
                  <a:srgbClr val="FFFFFF"/>
                </a:highlight>
                <a:latin typeface="Consolas" panose="020B0609020204030204" pitchFamily="49" charset="0"/>
              </a:rPr>
              <a: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select</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OS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FF00FF"/>
                </a:solidFill>
                <a:highlight>
                  <a:srgbClr val="FFFFFF"/>
                </a:highlight>
                <a:latin typeface="Consolas" panose="020B0609020204030204" pitchFamily="49" charset="0"/>
              </a:rPr>
              <a:t>HO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N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SERVICE_LEVEL</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000000"/>
                </a:solidFill>
                <a:highlight>
                  <a:srgbClr val="FFFFFF"/>
                </a:highlight>
                <a:latin typeface="Consolas" panose="020B0609020204030204" pitchFamily="49" charset="0"/>
              </a:rPr>
              <a:t>trim</a:t>
            </a:r>
            <a:r>
              <a:rPr lang="en-US" sz="1100">
                <a:solidFill>
                  <a:srgbClr val="808080"/>
                </a:solidFill>
                <a:highlight>
                  <a:srgbClr val="FFFFFF"/>
                </a:highlight>
                <a:latin typeface="Consolas" panose="020B0609020204030204" pitchFamily="49" charset="0"/>
              </a:rPr>
              <a:t>((</a:t>
            </a:r>
            <a:r>
              <a:rPr lang="en-US" sz="1100">
                <a:solidFill>
                  <a:srgbClr val="0000FF"/>
                </a:solidFill>
                <a:highlight>
                  <a:srgbClr val="FFFFFF"/>
                </a:highlight>
                <a:latin typeface="Consolas" panose="020B0609020204030204" pitchFamily="49" charset="0"/>
              </a:rPr>
              <a:t>SELEC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CURREN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SERVER</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FROM</a:t>
            </a:r>
            <a:r>
              <a:rPr lang="en-US" sz="1100">
                <a:solidFill>
                  <a:srgbClr val="000000"/>
                </a:solidFill>
                <a:highlight>
                  <a:srgbClr val="FFFFFF"/>
                </a:highlight>
                <a:latin typeface="Consolas" panose="020B0609020204030204" pitchFamily="49" charset="0"/>
              </a:rPr>
              <a:t> SYSIBM</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DUMMY1</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it-IT" sz="1100">
                <a:solidFill>
                  <a:srgbClr val="000000"/>
                </a:solidFill>
                <a:highlight>
                  <a:srgbClr val="FFFFFF"/>
                </a:highlight>
                <a:latin typeface="Consolas" panose="020B0609020204030204" pitchFamily="49" charset="0"/>
              </a:rPr>
              <a:t>trim</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v</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TABSCHEMA</a:t>
            </a:r>
            <a:r>
              <a:rPr lang="it-IT" sz="1100">
                <a:solidFill>
                  <a:srgbClr val="80808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 </a:t>
            </a:r>
            <a:r>
              <a:rPr lang="it-IT" sz="1100">
                <a:solidFill>
                  <a:srgbClr val="FF00FF"/>
                </a:solidFill>
                <a:highlight>
                  <a:srgbClr val="FFFFFF"/>
                </a:highlight>
                <a:latin typeface="Consolas" panose="020B0609020204030204" pitchFamily="49" charset="0"/>
              </a:rPr>
              <a:t>CONCAT</a:t>
            </a:r>
            <a:r>
              <a:rPr lang="it-IT" sz="1100">
                <a:solidFill>
                  <a:srgbClr val="000000"/>
                </a:solidFill>
                <a:highlight>
                  <a:srgbClr val="FFFFFF"/>
                </a:highlight>
                <a:latin typeface="Consolas" panose="020B0609020204030204" pitchFamily="49" charset="0"/>
              </a:rPr>
              <a:t> </a:t>
            </a:r>
            <a:r>
              <a:rPr lang="it-IT" sz="1100">
                <a:solidFill>
                  <a:srgbClr val="FF0000"/>
                </a:solidFill>
                <a:highlight>
                  <a:srgbClr val="FFFFFF"/>
                </a:highlight>
                <a:latin typeface="Consolas" panose="020B0609020204030204" pitchFamily="49" charset="0"/>
              </a:rPr>
              <a:t>','</a:t>
            </a:r>
            <a:r>
              <a:rPr lang="it-IT" sz="1100">
                <a:solidFill>
                  <a:srgbClr val="000000"/>
                </a:solidFill>
                <a:highlight>
                  <a:srgbClr val="FFFFFF"/>
                </a:highlight>
                <a:latin typeface="Consolas" panose="020B0609020204030204" pitchFamily="49" charset="0"/>
              </a:rPr>
              <a:t> </a:t>
            </a:r>
            <a:r>
              <a:rPr lang="it-IT" sz="1100">
                <a:solidFill>
                  <a:srgbClr val="FF00FF"/>
                </a:solidFill>
                <a:highlight>
                  <a:srgbClr val="FFFFFF"/>
                </a:highlight>
                <a:latin typeface="Consolas" panose="020B0609020204030204" pitchFamily="49" charset="0"/>
              </a:rPr>
              <a:t>CONCAT</a:t>
            </a:r>
            <a:endParaRPr lang="it-IT" sz="1100">
              <a:solidFill>
                <a:srgbClr val="000000"/>
              </a:solidFill>
              <a:highlight>
                <a:srgbClr val="FFFFFF"/>
              </a:highlight>
              <a:latin typeface="Consolas" panose="020B0609020204030204" pitchFamily="49" charset="0"/>
            </a:endParaRPr>
          </a:p>
          <a:p>
            <a:r>
              <a:rPr lang="en-US" sz="1100">
                <a:solidFill>
                  <a:srgbClr val="FF0000"/>
                </a:solidFill>
                <a:highlight>
                  <a:srgbClr val="FFFFFF"/>
                </a:highlight>
                <a:latin typeface="Consolas" panose="020B0609020204030204" pitchFamily="49" charset="0"/>
              </a:rPr>
              <a:t>'TABLE PARTITION'</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endParaRPr lang="en-US" sz="1100">
              <a:solidFill>
                <a:srgbClr val="000000"/>
              </a:solidFill>
              <a:highlight>
                <a:srgbClr val="FFFFFF"/>
              </a:highlight>
              <a:latin typeface="Consolas" panose="020B0609020204030204" pitchFamily="49" charset="0"/>
            </a:endParaRPr>
          </a:p>
          <a:p>
            <a:r>
              <a:rPr lang="en-US" sz="1100">
                <a:solidFill>
                  <a:srgbClr val="FF00FF"/>
                </a:solidFill>
                <a:highlight>
                  <a:srgbClr val="FFFFFF"/>
                </a:highlight>
                <a:latin typeface="Consolas" panose="020B0609020204030204" pitchFamily="49" charset="0"/>
              </a:rPr>
              <a:t>COALESCE</a:t>
            </a:r>
            <a:r>
              <a:rPr lang="en-US" sz="1100">
                <a:solidFill>
                  <a:srgbClr val="808080"/>
                </a:solidFill>
                <a:highlight>
                  <a:srgbClr val="FFFFFF"/>
                </a:highlight>
                <a:latin typeface="Consolas" panose="020B0609020204030204" pitchFamily="49" charset="0"/>
              </a:rPr>
              <a:t>(</a:t>
            </a:r>
            <a:r>
              <a:rPr lang="en-US" sz="1100">
                <a:solidFill>
                  <a:srgbClr val="FF00FF"/>
                </a:solidFill>
                <a:highlight>
                  <a:srgbClr val="FFFFFF"/>
                </a:highlight>
                <a:latin typeface="Consolas" panose="020B0609020204030204" pitchFamily="49" charset="0"/>
              </a:rPr>
              <a:t>count</a:t>
            </a:r>
            <a:r>
              <a:rPr lang="en-US" sz="1100">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AB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1</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FF00FF"/>
                </a:solidFill>
                <a:highlight>
                  <a:srgbClr val="FFFFFF"/>
                </a:highlight>
                <a:latin typeface="Consolas" panose="020B0609020204030204" pitchFamily="49" charset="0"/>
              </a:rPr>
              <a:t>CONCAT</a:t>
            </a:r>
            <a:r>
              <a:rPr lang="en-US" sz="1100">
                <a:solidFill>
                  <a:srgbClr val="000000"/>
                </a:solidFill>
                <a:highlight>
                  <a:srgbClr val="FFFFFF"/>
                </a:highlight>
                <a:latin typeface="Consolas" panose="020B0609020204030204" pitchFamily="49" charset="0"/>
              </a:rPr>
              <a:t> </a:t>
            </a:r>
            <a:r>
              <a:rPr lang="en-US" sz="1100">
                <a:solidFill>
                  <a:srgbClr val="FF0000"/>
                </a:solidFill>
                <a:highlight>
                  <a:srgbClr val="FFFFFF"/>
                </a:highlight>
                <a:latin typeface="Consolas" panose="020B0609020204030204" pitchFamily="49" charset="0"/>
              </a:rPr>
              <a:t>',1,1'</a:t>
            </a:r>
            <a:endParaRPr lang="en-US" sz="1100">
              <a:solidFill>
                <a:srgbClr val="000000"/>
              </a:solidFill>
              <a:highlight>
                <a:srgbClr val="FFFFFF"/>
              </a:highlight>
              <a:latin typeface="Consolas" panose="020B0609020204030204" pitchFamily="49" charset="0"/>
            </a:endParaRPr>
          </a:p>
          <a:p>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from</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syscat</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ABDETACHEDDEP</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v</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TABL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PROC</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ENV_GET_SYS_INFO</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TABL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SYSPROC</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ENV_GET_INST_INFO</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as</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endParaRPr lang="en-US" sz="1100">
              <a:solidFill>
                <a:srgbClr val="000000"/>
              </a:solidFill>
              <a:highlight>
                <a:srgbClr val="FFFFFF"/>
              </a:highlight>
              <a:latin typeface="Consolas" panose="020B0609020204030204" pitchFamily="49" charset="0"/>
            </a:endParaRPr>
          </a:p>
          <a:p>
            <a:r>
              <a:rPr lang="en-US" sz="1100">
                <a:solidFill>
                  <a:srgbClr val="0000FF"/>
                </a:solidFill>
                <a:highlight>
                  <a:srgbClr val="FFFFFF"/>
                </a:highlight>
                <a:latin typeface="Consolas" panose="020B0609020204030204" pitchFamily="49" charset="0"/>
              </a:rPr>
              <a:t>group</a:t>
            </a:r>
            <a:r>
              <a:rPr lang="en-US" sz="1100">
                <a:solidFill>
                  <a:srgbClr val="000000"/>
                </a:solidFill>
                <a:highlight>
                  <a:srgbClr val="FFFFFF"/>
                </a:highlight>
                <a:latin typeface="Consolas" panose="020B0609020204030204" pitchFamily="49" charset="0"/>
              </a:rPr>
              <a:t> </a:t>
            </a:r>
            <a:r>
              <a:rPr lang="en-US" sz="1100">
                <a:solidFill>
                  <a:srgbClr val="0000FF"/>
                </a:solidFill>
                <a:highlight>
                  <a:srgbClr val="FFFFFF"/>
                </a:highlight>
                <a:latin typeface="Consolas" panose="020B0609020204030204" pitchFamily="49" charset="0"/>
              </a:rPr>
              <a:t>by</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OS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SERVICE_LEVEL</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i</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IN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e</a:t>
            </a:r>
            <a:r>
              <a:rPr lang="en-US" sz="1100" err="1">
                <a:solidFill>
                  <a:srgbClr val="808080"/>
                </a:solidFill>
                <a:highlight>
                  <a:srgbClr val="FFFFFF"/>
                </a:highlight>
                <a:latin typeface="Consolas" panose="020B0609020204030204" pitchFamily="49" charset="0"/>
              </a:rPr>
              <a:t>.</a:t>
            </a:r>
            <a:r>
              <a:rPr lang="en-US" sz="1100" err="1">
                <a:solidFill>
                  <a:srgbClr val="FF00FF"/>
                </a:solidFill>
                <a:highlight>
                  <a:srgbClr val="FFFFFF"/>
                </a:highlight>
                <a:latin typeface="Consolas" panose="020B0609020204030204" pitchFamily="49" charset="0"/>
              </a:rPr>
              <a:t>HOST_NAME</a:t>
            </a:r>
            <a:r>
              <a:rPr lang="en-US" sz="1100">
                <a:solidFill>
                  <a:srgbClr val="808080"/>
                </a:solidFill>
                <a:highlight>
                  <a:srgbClr val="FFFFFF"/>
                </a:highlight>
                <a:latin typeface="Consolas" panose="020B0609020204030204" pitchFamily="49" charset="0"/>
              </a:rPr>
              <a:t>,</a:t>
            </a:r>
            <a:r>
              <a:rPr lang="en-US" sz="1100">
                <a:solidFill>
                  <a:srgbClr val="000000"/>
                </a:solidFill>
                <a:highlight>
                  <a:srgbClr val="FFFFFF"/>
                </a:highlight>
                <a:latin typeface="Consolas" panose="020B0609020204030204" pitchFamily="49" charset="0"/>
              </a:rPr>
              <a:t> </a:t>
            </a:r>
            <a:r>
              <a:rPr lang="en-US" sz="1100" err="1">
                <a:solidFill>
                  <a:srgbClr val="000000"/>
                </a:solidFill>
                <a:highlight>
                  <a:srgbClr val="FFFFFF"/>
                </a:highlight>
                <a:latin typeface="Consolas" panose="020B0609020204030204" pitchFamily="49" charset="0"/>
              </a:rPr>
              <a:t>v</a:t>
            </a:r>
            <a:r>
              <a:rPr lang="en-US" sz="1100" err="1">
                <a:solidFill>
                  <a:srgbClr val="808080"/>
                </a:solidFill>
                <a:highlight>
                  <a:srgbClr val="FFFFFF"/>
                </a:highlight>
                <a:latin typeface="Consolas" panose="020B0609020204030204" pitchFamily="49" charset="0"/>
              </a:rPr>
              <a:t>.</a:t>
            </a:r>
            <a:r>
              <a:rPr lang="en-US" sz="1100" err="1">
                <a:solidFill>
                  <a:srgbClr val="000000"/>
                </a:solidFill>
                <a:highlight>
                  <a:srgbClr val="FFFFFF"/>
                </a:highlight>
                <a:latin typeface="Consolas" panose="020B0609020204030204" pitchFamily="49" charset="0"/>
              </a:rPr>
              <a:t>TABSCHEMA</a:t>
            </a:r>
            <a:r>
              <a:rPr lang="en-US" sz="1100">
                <a:solidFill>
                  <a:srgbClr val="808080"/>
                </a:solidFill>
                <a:highlight>
                  <a:srgbClr val="FFFFFF"/>
                </a:highlight>
                <a:latin typeface="Consolas" panose="020B0609020204030204" pitchFamily="49" charset="0"/>
              </a:rPr>
              <a:t>;</a:t>
            </a:r>
            <a:endParaRPr lang="en-US" sz="1100"/>
          </a:p>
        </p:txBody>
      </p:sp>
    </p:spTree>
    <p:extLst>
      <p:ext uri="{BB962C8B-B14F-4D97-AF65-F5344CB8AC3E}">
        <p14:creationId xmlns:p14="http://schemas.microsoft.com/office/powerpoint/2010/main" val="9742731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3600">
                <a:solidFill>
                  <a:schemeClr val="accent4">
                    <a:lumMod val="60000"/>
                    <a:lumOff val="40000"/>
                  </a:schemeClr>
                </a:solidFill>
              </a:rPr>
              <a:t>More query</a:t>
            </a:r>
            <a:br>
              <a:rPr lang="en-US" sz="3600">
                <a:solidFill>
                  <a:schemeClr val="accent4">
                    <a:lumMod val="60000"/>
                    <a:lumOff val="40000"/>
                  </a:schemeClr>
                </a:solidFill>
              </a:rPr>
            </a:br>
            <a:r>
              <a:rPr lang="en-US" sz="3600">
                <a:solidFill>
                  <a:schemeClr val="accent4">
                    <a:lumMod val="60000"/>
                    <a:lumOff val="40000"/>
                  </a:schemeClr>
                </a:solidFill>
              </a:rPr>
              <a:t>(Partial code)</a:t>
            </a:r>
          </a:p>
        </p:txBody>
      </p:sp>
      <p:sp>
        <p:nvSpPr>
          <p:cNvPr id="3" name="Rectangle 2"/>
          <p:cNvSpPr/>
          <p:nvPr/>
        </p:nvSpPr>
        <p:spPr>
          <a:xfrm>
            <a:off x="3017837" y="121423"/>
            <a:ext cx="8991600" cy="7109639"/>
          </a:xfrm>
          <a:prstGeom prst="rect">
            <a:avLst/>
          </a:prstGeom>
        </p:spPr>
        <p:txBody>
          <a:bodyPr wrap="square">
            <a:spAutoFit/>
          </a:bodyPr>
          <a:lstStyle/>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ALIASES</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it-IT" sz="800">
                <a:solidFill>
                  <a:srgbClr val="000000"/>
                </a:solidFill>
                <a:highlight>
                  <a:srgbClr val="FFFFFF"/>
                </a:highlight>
                <a:latin typeface="Consolas" panose="020B0609020204030204" pitchFamily="49" charset="0"/>
              </a:rPr>
              <a:t>trim</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v</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TABSCHEMA</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r>
              <a:rPr lang="en-US" sz="800">
                <a:solidFill>
                  <a:srgbClr val="FF0000"/>
                </a:solidFill>
                <a:highlight>
                  <a:srgbClr val="FFFFFF"/>
                </a:highlight>
                <a:latin typeface="Consolas" panose="020B0609020204030204" pitchFamily="49" charset="0"/>
              </a:rPr>
              <a:t>'ALIAS'</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FF00FF"/>
                </a:solidFill>
                <a:highlight>
                  <a:srgbClr val="FFFFFF"/>
                </a:highlight>
                <a:latin typeface="Consolas" panose="020B0609020204030204" pitchFamily="49" charset="0"/>
              </a:rPr>
              <a:t>COALESCE</a:t>
            </a:r>
            <a:r>
              <a:rPr lang="en-US" sz="800">
                <a:solidFill>
                  <a:srgbClr val="808080"/>
                </a:solidFill>
                <a:highlight>
                  <a:srgbClr val="FFFFFF"/>
                </a:highlight>
                <a:latin typeface="Consolas" panose="020B0609020204030204" pitchFamily="49" charset="0"/>
              </a:rPr>
              <a:t>(</a:t>
            </a:r>
            <a:r>
              <a:rPr lang="en-US" sz="800">
                <a:solidFill>
                  <a:srgbClr val="FF00FF"/>
                </a:solidFill>
                <a:highlight>
                  <a:srgbClr val="FFFFFF"/>
                </a:highlight>
                <a:latin typeface="Consolas" panose="020B0609020204030204" pitchFamily="49" charset="0"/>
              </a:rPr>
              <a:t>count</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1,1'</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tabl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where</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type</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group</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by</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SCHEMA</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MATERIALIZED QUERY TABLES</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it-IT" sz="800">
                <a:solidFill>
                  <a:srgbClr val="000000"/>
                </a:solidFill>
                <a:highlight>
                  <a:srgbClr val="FFFFFF"/>
                </a:highlight>
                <a:latin typeface="Consolas" panose="020B0609020204030204" pitchFamily="49" charset="0"/>
              </a:rPr>
              <a:t>trim</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v</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TABSCHEMA</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r>
              <a:rPr lang="en-US" sz="800">
                <a:solidFill>
                  <a:srgbClr val="FF0000"/>
                </a:solidFill>
                <a:highlight>
                  <a:srgbClr val="FFFFFF"/>
                </a:highlight>
                <a:latin typeface="Consolas" panose="020B0609020204030204" pitchFamily="49" charset="0"/>
              </a:rPr>
              <a:t>'MATERIALIZED QUERY TABLE'</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FF00FF"/>
                </a:solidFill>
                <a:highlight>
                  <a:srgbClr val="FFFFFF"/>
                </a:highlight>
                <a:latin typeface="Consolas" panose="020B0609020204030204" pitchFamily="49" charset="0"/>
              </a:rPr>
              <a:t>COALESCE</a:t>
            </a:r>
            <a:r>
              <a:rPr lang="en-US" sz="800">
                <a:solidFill>
                  <a:srgbClr val="808080"/>
                </a:solidFill>
                <a:highlight>
                  <a:srgbClr val="FFFFFF"/>
                </a:highlight>
                <a:latin typeface="Consolas" panose="020B0609020204030204" pitchFamily="49" charset="0"/>
              </a:rPr>
              <a:t>(</a:t>
            </a:r>
            <a:r>
              <a:rPr lang="en-US" sz="800">
                <a:solidFill>
                  <a:srgbClr val="FF00FF"/>
                </a:solidFill>
                <a:highlight>
                  <a:srgbClr val="FFFFFF"/>
                </a:highlight>
                <a:latin typeface="Consolas" panose="020B0609020204030204" pitchFamily="49" charset="0"/>
              </a:rPr>
              <a:t>count</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1,1'</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tabl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where</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type</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S'</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group</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by</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SCHEMA</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INDEXES</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DSCHEMA</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FF0000"/>
                </a:solidFill>
                <a:highlight>
                  <a:srgbClr val="FFFFFF"/>
                </a:highlight>
                <a:latin typeface="Consolas" panose="020B0609020204030204" pitchFamily="49" charset="0"/>
              </a:rPr>
              <a:t>'INDEX'</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FF00FF"/>
                </a:solidFill>
                <a:highlight>
                  <a:srgbClr val="FFFFFF"/>
                </a:highlight>
                <a:latin typeface="Consolas" panose="020B0609020204030204" pitchFamily="49" charset="0"/>
              </a:rPr>
              <a:t>COALESCE</a:t>
            </a:r>
            <a:r>
              <a:rPr lang="en-US" sz="800">
                <a:solidFill>
                  <a:srgbClr val="808080"/>
                </a:solidFill>
                <a:highlight>
                  <a:srgbClr val="FFFFFF"/>
                </a:highlight>
                <a:latin typeface="Consolas" panose="020B0609020204030204" pitchFamily="49" charset="0"/>
              </a:rPr>
              <a:t>(</a:t>
            </a:r>
            <a:r>
              <a:rPr lang="en-US" sz="800">
                <a:solidFill>
                  <a:srgbClr val="FF00FF"/>
                </a:solidFill>
                <a:highlight>
                  <a:srgbClr val="FFFFFF"/>
                </a:highlight>
                <a:latin typeface="Consolas" panose="020B0609020204030204" pitchFamily="49" charset="0"/>
              </a:rPr>
              <a:t>count</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D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1,1'</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index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group</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by</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DSCHEMA</a:t>
            </a:r>
            <a:r>
              <a:rPr lang="en-US" sz="800">
                <a:solidFill>
                  <a:srgbClr val="808080"/>
                </a:solidFill>
                <a:highlight>
                  <a:srgbClr val="FFFFFF"/>
                </a:highlight>
                <a:latin typeface="Consolas" panose="020B0609020204030204" pitchFamily="49" charset="0"/>
              </a:rPr>
              <a:t>;</a:t>
            </a:r>
            <a:endParaRPr lang="en-US" sz="800"/>
          </a:p>
        </p:txBody>
      </p:sp>
    </p:spTree>
    <p:extLst>
      <p:ext uri="{BB962C8B-B14F-4D97-AF65-F5344CB8AC3E}">
        <p14:creationId xmlns:p14="http://schemas.microsoft.com/office/powerpoint/2010/main" val="289573170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3600">
                <a:solidFill>
                  <a:schemeClr val="accent4">
                    <a:lumMod val="60000"/>
                    <a:lumOff val="40000"/>
                  </a:schemeClr>
                </a:solidFill>
              </a:rPr>
              <a:t>Last part of</a:t>
            </a:r>
            <a:br>
              <a:rPr lang="en-US" sz="3600">
                <a:solidFill>
                  <a:schemeClr val="accent4">
                    <a:lumMod val="60000"/>
                    <a:lumOff val="40000"/>
                  </a:schemeClr>
                </a:solidFill>
              </a:rPr>
            </a:br>
            <a:r>
              <a:rPr lang="en-US" sz="3600">
                <a:solidFill>
                  <a:schemeClr val="accent4">
                    <a:lumMod val="60000"/>
                    <a:lumOff val="40000"/>
                  </a:schemeClr>
                </a:solidFill>
              </a:rPr>
              <a:t>query</a:t>
            </a:r>
          </a:p>
        </p:txBody>
      </p:sp>
      <p:sp>
        <p:nvSpPr>
          <p:cNvPr id="3" name="Rectangle 2"/>
          <p:cNvSpPr/>
          <p:nvPr/>
        </p:nvSpPr>
        <p:spPr>
          <a:xfrm>
            <a:off x="3017837" y="121423"/>
            <a:ext cx="8991600" cy="5509200"/>
          </a:xfrm>
          <a:prstGeom prst="rect">
            <a:avLst/>
          </a:prstGeom>
        </p:spPr>
        <p:txBody>
          <a:bodyPr wrap="square">
            <a:spAutoFit/>
          </a:bodyPr>
          <a:lstStyle/>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RAW DATA</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it-IT" sz="800">
                <a:solidFill>
                  <a:srgbClr val="000000"/>
                </a:solidFill>
                <a:highlight>
                  <a:srgbClr val="FFFFFF"/>
                </a:highlight>
                <a:latin typeface="Consolas" panose="020B0609020204030204" pitchFamily="49" charset="0"/>
              </a:rPr>
              <a:t>trim</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v</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TABSCHEMA</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it-IT" sz="800">
                <a:solidFill>
                  <a:srgbClr val="FF0000"/>
                </a:solidFill>
                <a:highlight>
                  <a:srgbClr val="FFFFFF"/>
                </a:highlight>
                <a:latin typeface="Consolas" panose="020B0609020204030204" pitchFamily="49" charset="0"/>
              </a:rPr>
              <a:t>'RAW DATA (MB)'</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FF00FF"/>
                </a:solidFill>
                <a:highlight>
                  <a:srgbClr val="FFFFFF"/>
                </a:highlight>
                <a:latin typeface="Consolas" panose="020B0609020204030204" pitchFamily="49" charset="0"/>
              </a:rPr>
              <a:t>round</a:t>
            </a:r>
            <a:r>
              <a:rPr lang="en-US" sz="800">
                <a:solidFill>
                  <a:srgbClr val="808080"/>
                </a:solidFill>
                <a:highlight>
                  <a:srgbClr val="FFFFFF"/>
                </a:highlight>
                <a:latin typeface="Consolas" panose="020B0609020204030204" pitchFamily="49" charset="0"/>
              </a:rPr>
              <a:t>((</a:t>
            </a:r>
            <a:r>
              <a:rPr lang="en-US" sz="800">
                <a:solidFill>
                  <a:srgbClr val="FF00FF"/>
                </a:solidFill>
                <a:highlight>
                  <a:srgbClr val="FFFFFF"/>
                </a:highlight>
                <a:latin typeface="Consolas" panose="020B0609020204030204" pitchFamily="49" charset="0"/>
              </a:rPr>
              <a:t>su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CARD</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AVGROWSIZ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0.00000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2</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tabl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group</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by</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SCHEMA</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 TABLE SIZING</a:t>
            </a:r>
            <a:endParaRPr lang="en-US" sz="800">
              <a:solidFill>
                <a:srgbClr val="000000"/>
              </a:solidFill>
              <a:highlight>
                <a:srgbClr val="FFFFFF"/>
              </a:highlight>
              <a:latin typeface="Consolas" panose="020B0609020204030204" pitchFamily="49" charset="0"/>
            </a:endParaRPr>
          </a:p>
          <a:p>
            <a:r>
              <a:rPr lang="en-US" sz="800">
                <a:solidFill>
                  <a:srgbClr val="00800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selec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OS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e</a:t>
            </a:r>
            <a:r>
              <a:rPr lang="en-US" sz="800" err="1">
                <a:solidFill>
                  <a:srgbClr val="808080"/>
                </a:solidFill>
                <a:highlight>
                  <a:srgbClr val="FFFFFF"/>
                </a:highlight>
                <a:latin typeface="Consolas" panose="020B0609020204030204" pitchFamily="49" charset="0"/>
              </a:rPr>
              <a:t>.</a:t>
            </a:r>
            <a:r>
              <a:rPr lang="en-US" sz="800" err="1">
                <a:solidFill>
                  <a:srgbClr val="FF00FF"/>
                </a:solidFill>
                <a:highlight>
                  <a:srgbClr val="FFFFFF"/>
                </a:highlight>
                <a:latin typeface="Consolas" panose="020B0609020204030204" pitchFamily="49" charset="0"/>
              </a:rPr>
              <a:t>HO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NST_NAM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i</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SERVICE_LEVEL</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000000"/>
                </a:solidFill>
                <a:highlight>
                  <a:srgbClr val="FFFFFF"/>
                </a:highlight>
                <a:latin typeface="Consolas" panose="020B0609020204030204" pitchFamily="49" charset="0"/>
              </a:rPr>
              <a:t>trim</a:t>
            </a:r>
            <a:r>
              <a:rPr lang="en-US" sz="800">
                <a:solidFill>
                  <a:srgbClr val="808080"/>
                </a:solidFill>
                <a:highlight>
                  <a:srgbClr val="FFFFFF"/>
                </a:highlight>
                <a:latin typeface="Consolas" panose="020B0609020204030204" pitchFamily="49" charset="0"/>
              </a:rPr>
              <a:t>((</a:t>
            </a:r>
            <a:r>
              <a:rPr lang="en-US" sz="800">
                <a:solidFill>
                  <a:srgbClr val="0000FF"/>
                </a:solidFill>
                <a:highlight>
                  <a:srgbClr val="FFFFFF"/>
                </a:highlight>
                <a:latin typeface="Consolas" panose="020B0609020204030204" pitchFamily="49" charset="0"/>
              </a:rPr>
              <a:t>SELEC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CURREN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SERVER</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SYSIBM</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DUMMY1</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it-IT" sz="800">
                <a:solidFill>
                  <a:srgbClr val="000000"/>
                </a:solidFill>
                <a:highlight>
                  <a:srgbClr val="FFFFFF"/>
                </a:highlight>
                <a:latin typeface="Consolas" panose="020B0609020204030204" pitchFamily="49" charset="0"/>
              </a:rPr>
              <a:t>trim</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v</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TABSCHEMA</a:t>
            </a:r>
            <a:r>
              <a:rPr lang="it-IT" sz="800">
                <a:solidFill>
                  <a:srgbClr val="80808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r>
              <a:rPr lang="it-IT" sz="800">
                <a:solidFill>
                  <a:srgbClr val="000000"/>
                </a:solidFill>
                <a:highlight>
                  <a:srgbClr val="FFFFFF"/>
                </a:highlight>
                <a:latin typeface="Consolas" panose="020B0609020204030204" pitchFamily="49" charset="0"/>
              </a:rPr>
              <a:t> </a:t>
            </a:r>
            <a:r>
              <a:rPr lang="it-IT" sz="800">
                <a:solidFill>
                  <a:srgbClr val="FF0000"/>
                </a:solidFill>
                <a:highlight>
                  <a:srgbClr val="FFFFFF"/>
                </a:highlight>
                <a:latin typeface="Consolas" panose="020B0609020204030204" pitchFamily="49" charset="0"/>
              </a:rPr>
              <a:t>','</a:t>
            </a:r>
            <a:r>
              <a:rPr lang="it-IT" sz="800">
                <a:solidFill>
                  <a:srgbClr val="000000"/>
                </a:solidFill>
                <a:highlight>
                  <a:srgbClr val="FFFFFF"/>
                </a:highlight>
                <a:latin typeface="Consolas" panose="020B0609020204030204" pitchFamily="49" charset="0"/>
              </a:rPr>
              <a:t> </a:t>
            </a:r>
            <a:r>
              <a:rPr lang="it-IT" sz="800">
                <a:solidFill>
                  <a:srgbClr val="FF00FF"/>
                </a:solidFill>
                <a:highlight>
                  <a:srgbClr val="FFFFFF"/>
                </a:highlight>
                <a:latin typeface="Consolas" panose="020B0609020204030204" pitchFamily="49" charset="0"/>
              </a:rPr>
              <a:t>CONCAT</a:t>
            </a:r>
            <a:endParaRPr lang="it-IT" sz="800">
              <a:solidFill>
                <a:srgbClr val="000000"/>
              </a:solidFill>
              <a:highlight>
                <a:srgbClr val="FFFFFF"/>
              </a:highlight>
              <a:latin typeface="Consolas" panose="020B0609020204030204" pitchFamily="49" charset="0"/>
            </a:endParaRPr>
          </a:p>
          <a:p>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TABNAME</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FF0000"/>
                </a:solidFill>
                <a:highlight>
                  <a:srgbClr val="FFFFFF"/>
                </a:highlight>
                <a:latin typeface="Consolas" panose="020B0609020204030204" pitchFamily="49" charset="0"/>
              </a:rPr>
              <a:t>'TABLE SIZING'</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CARD</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AVGROWSIZE</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FF"/>
                </a:solidFill>
                <a:highlight>
                  <a:srgbClr val="FFFFFF"/>
                </a:highlight>
                <a:latin typeface="Consolas" panose="020B0609020204030204" pitchFamily="49" charset="0"/>
              </a:rPr>
              <a:t>CONCAT</a:t>
            </a:r>
            <a:endParaRPr lang="en-US" sz="800">
              <a:solidFill>
                <a:srgbClr val="000000"/>
              </a:solidFill>
              <a:highlight>
                <a:srgbClr val="FFFFFF"/>
              </a:highlight>
              <a:latin typeface="Consolas" panose="020B0609020204030204" pitchFamily="49" charset="0"/>
            </a:endParaRPr>
          </a:p>
          <a:p>
            <a:r>
              <a:rPr lang="en-US" sz="800">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CARD</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00"/>
                </a:solidFill>
                <a:highlight>
                  <a:srgbClr val="FFFFFF"/>
                </a:highlight>
                <a:latin typeface="Consolas" panose="020B0609020204030204" pitchFamily="49" charset="0"/>
              </a:rPr>
              <a:t>AVGROWSIZE</a:t>
            </a:r>
            <a:r>
              <a:rPr lang="en-US" sz="800">
                <a:solidFill>
                  <a:srgbClr val="808080"/>
                </a:solidFill>
                <a:highlight>
                  <a:srgbClr val="FFFFFF"/>
                </a:highlight>
                <a:latin typeface="Consolas" panose="020B0609020204030204" pitchFamily="49" charset="0"/>
              </a:rPr>
              <a:t>)</a:t>
            </a:r>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from</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syscat</a:t>
            </a:r>
            <a:r>
              <a:rPr lang="en-US" sz="800" err="1">
                <a:solidFill>
                  <a:srgbClr val="808080"/>
                </a:solidFill>
                <a:highlight>
                  <a:srgbClr val="FFFFFF"/>
                </a:highlight>
                <a:latin typeface="Consolas" panose="020B0609020204030204" pitchFamily="49" charset="0"/>
              </a:rPr>
              <a:t>.</a:t>
            </a:r>
            <a:r>
              <a:rPr lang="en-US" sz="800" err="1">
                <a:solidFill>
                  <a:srgbClr val="008000"/>
                </a:solidFill>
                <a:highlight>
                  <a:srgbClr val="FFFFFF"/>
                </a:highlight>
                <a:latin typeface="Consolas" panose="020B0609020204030204" pitchFamily="49" charset="0"/>
              </a:rPr>
              <a:t>tables</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v</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SYS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TABLE</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SYSPROC</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ENV_GET_INST_INFO</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0000FF"/>
                </a:solidFill>
                <a:highlight>
                  <a:srgbClr val="FFFFFF"/>
                </a:highlight>
                <a:latin typeface="Consolas" panose="020B0609020204030204" pitchFamily="49" charset="0"/>
              </a:rPr>
              <a:t>as</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i</a:t>
            </a:r>
            <a:endParaRPr lang="en-US" sz="800">
              <a:solidFill>
                <a:srgbClr val="000000"/>
              </a:solidFill>
              <a:highlight>
                <a:srgbClr val="FFFFFF"/>
              </a:highlight>
              <a:latin typeface="Consolas" panose="020B0609020204030204" pitchFamily="49" charset="0"/>
            </a:endParaRPr>
          </a:p>
          <a:p>
            <a:r>
              <a:rPr lang="en-US" sz="800">
                <a:solidFill>
                  <a:srgbClr val="0000FF"/>
                </a:solidFill>
                <a:highlight>
                  <a:srgbClr val="FFFFFF"/>
                </a:highlight>
                <a:latin typeface="Consolas" panose="020B0609020204030204" pitchFamily="49" charset="0"/>
              </a:rPr>
              <a:t>where</a:t>
            </a:r>
            <a:r>
              <a:rPr lang="en-US" sz="800">
                <a:solidFill>
                  <a:srgbClr val="000000"/>
                </a:solidFill>
                <a:highlight>
                  <a:srgbClr val="FFFFFF"/>
                </a:highlight>
                <a:latin typeface="Consolas" panose="020B0609020204030204" pitchFamily="49" charset="0"/>
              </a:rPr>
              <a:t> </a:t>
            </a:r>
            <a:r>
              <a:rPr lang="en-US" sz="800" err="1">
                <a:solidFill>
                  <a:srgbClr val="000000"/>
                </a:solidFill>
                <a:highlight>
                  <a:srgbClr val="FFFFFF"/>
                </a:highlight>
                <a:latin typeface="Consolas" panose="020B0609020204030204" pitchFamily="49" charset="0"/>
              </a:rPr>
              <a:t>v</a:t>
            </a:r>
            <a:r>
              <a:rPr lang="en-US" sz="800" err="1">
                <a:solidFill>
                  <a:srgbClr val="808080"/>
                </a:solidFill>
                <a:highlight>
                  <a:srgbClr val="FFFFFF"/>
                </a:highlight>
                <a:latin typeface="Consolas" panose="020B0609020204030204" pitchFamily="49" charset="0"/>
              </a:rPr>
              <a:t>.</a:t>
            </a:r>
            <a:r>
              <a:rPr lang="en-US" sz="800" err="1">
                <a:solidFill>
                  <a:srgbClr val="0000FF"/>
                </a:solidFill>
                <a:highlight>
                  <a:srgbClr val="FFFFFF"/>
                </a:highlight>
                <a:latin typeface="Consolas" panose="020B0609020204030204" pitchFamily="49" charset="0"/>
              </a:rPr>
              <a:t>type</a:t>
            </a:r>
            <a:r>
              <a:rPr lang="en-US" sz="800">
                <a:solidFill>
                  <a:srgbClr val="000000"/>
                </a:solidFill>
                <a:highlight>
                  <a:srgbClr val="FFFFFF"/>
                </a:highlight>
                <a:latin typeface="Consolas" panose="020B0609020204030204" pitchFamily="49" charset="0"/>
              </a:rPr>
              <a:t> </a:t>
            </a:r>
            <a:r>
              <a:rPr lang="en-US" sz="800">
                <a:solidFill>
                  <a:srgbClr val="808080"/>
                </a:solidFill>
                <a:highlight>
                  <a:srgbClr val="FFFFFF"/>
                </a:highlight>
                <a:latin typeface="Consolas" panose="020B0609020204030204" pitchFamily="49" charset="0"/>
              </a:rPr>
              <a:t>=</a:t>
            </a:r>
            <a:r>
              <a:rPr lang="en-US" sz="800">
                <a:solidFill>
                  <a:srgbClr val="000000"/>
                </a:solidFill>
                <a:highlight>
                  <a:srgbClr val="FFFFFF"/>
                </a:highlight>
                <a:latin typeface="Consolas" panose="020B0609020204030204" pitchFamily="49" charset="0"/>
              </a:rPr>
              <a:t> </a:t>
            </a:r>
            <a:r>
              <a:rPr lang="en-US" sz="800">
                <a:solidFill>
                  <a:srgbClr val="FF0000"/>
                </a:solidFill>
                <a:highlight>
                  <a:srgbClr val="FFFFFF"/>
                </a:highlight>
                <a:latin typeface="Consolas" panose="020B0609020204030204" pitchFamily="49" charset="0"/>
              </a:rPr>
              <a:t>'T'</a:t>
            </a:r>
            <a:r>
              <a:rPr lang="en-US" sz="800">
                <a:solidFill>
                  <a:srgbClr val="808080"/>
                </a:solidFill>
                <a:highlight>
                  <a:srgbClr val="FFFFFF"/>
                </a:highlight>
                <a:latin typeface="Consolas" panose="020B0609020204030204" pitchFamily="49" charset="0"/>
              </a:rPr>
              <a:t>;</a:t>
            </a:r>
            <a:endParaRPr lang="en-US" sz="800"/>
          </a:p>
        </p:txBody>
      </p:sp>
    </p:spTree>
    <p:extLst>
      <p:ext uri="{BB962C8B-B14F-4D97-AF65-F5344CB8AC3E}">
        <p14:creationId xmlns:p14="http://schemas.microsoft.com/office/powerpoint/2010/main" val="84700167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9</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350837" y="284964"/>
            <a:ext cx="11582400" cy="6570320"/>
          </a:xfrm>
        </p:spPr>
        <p:txBody>
          <a:bodyPr>
            <a:normAutofit/>
          </a:bodyPr>
          <a:lstStyle/>
          <a:p>
            <a:pPr marL="0" indent="0" defTabSz="1243431">
              <a:spcBef>
                <a:spcPts val="0"/>
              </a:spcBef>
              <a:buSzTx/>
              <a:buNone/>
              <a:defRPr/>
            </a:pPr>
            <a:r>
              <a:rPr lang="en-US" sz="6000" b="1">
                <a:solidFill>
                  <a:schemeClr val="accent5">
                    <a:lumMod val="50000"/>
                    <a:lumOff val="50000"/>
                  </a:schemeClr>
                </a:solidFill>
              </a:rPr>
              <a:t>Running the query</a:t>
            </a:r>
          </a:p>
          <a:p>
            <a:pPr marL="0" indent="0" defTabSz="1243431">
              <a:spcBef>
                <a:spcPts val="0"/>
              </a:spcBef>
              <a:buSzTx/>
              <a:buNone/>
              <a:defRPr/>
            </a:pPr>
            <a:endParaRPr lang="en-US" sz="1000">
              <a:solidFill>
                <a:schemeClr val="accent5">
                  <a:lumMod val="50000"/>
                  <a:lumOff val="50000"/>
                </a:schemeClr>
              </a:solidFill>
            </a:endParaRPr>
          </a:p>
          <a:p>
            <a:pPr defTabSz="1243431">
              <a:spcBef>
                <a:spcPts val="1632"/>
              </a:spcBef>
              <a:spcAft>
                <a:spcPts val="816"/>
              </a:spcAft>
              <a:buSzTx/>
              <a:defRPr/>
            </a:pPr>
            <a:r>
              <a:rPr lang="en-US" sz="2400">
                <a:solidFill>
                  <a:schemeClr val="accent5">
                    <a:lumMod val="50000"/>
                    <a:lumOff val="50000"/>
                  </a:schemeClr>
                </a:solidFill>
              </a:rPr>
              <a:t>Run 1x in each instance </a:t>
            </a:r>
            <a:endParaRPr lang="en-US" sz="2800">
              <a:solidFill>
                <a:schemeClr val="accent5">
                  <a:lumMod val="50000"/>
                  <a:lumOff val="50000"/>
                </a:schemeClr>
              </a:solidFill>
            </a:endParaRPr>
          </a:p>
          <a:p>
            <a:pPr defTabSz="1243431">
              <a:spcBef>
                <a:spcPts val="1632"/>
              </a:spcBef>
              <a:spcAft>
                <a:spcPts val="816"/>
              </a:spcAft>
              <a:buSzTx/>
              <a:defRPr/>
            </a:pPr>
            <a:r>
              <a:rPr lang="en-US" sz="2400">
                <a:solidFill>
                  <a:schemeClr val="accent5">
                    <a:lumMod val="50000"/>
                    <a:lumOff val="50000"/>
                  </a:schemeClr>
                </a:solidFill>
              </a:rPr>
              <a:t>Helps to eliminate schemas you are not interested in</a:t>
            </a:r>
          </a:p>
          <a:p>
            <a:pPr defTabSz="1243431">
              <a:spcBef>
                <a:spcPts val="1632"/>
              </a:spcBef>
              <a:spcAft>
                <a:spcPts val="816"/>
              </a:spcAft>
              <a:buSzTx/>
              <a:defRPr/>
            </a:pPr>
            <a:r>
              <a:rPr lang="en-US" sz="2400">
                <a:solidFill>
                  <a:schemeClr val="accent5">
                    <a:lumMod val="50000"/>
                    <a:lumOff val="50000"/>
                  </a:schemeClr>
                </a:solidFill>
              </a:rPr>
              <a:t>Run from DB2 command line (Linux example):</a:t>
            </a:r>
          </a:p>
          <a:p>
            <a:pPr defTabSz="1243431">
              <a:spcBef>
                <a:spcPts val="1632"/>
              </a:spcBef>
              <a:spcAft>
                <a:spcPts val="816"/>
              </a:spcAft>
              <a:buSzTx/>
              <a:defRPr/>
            </a:pPr>
            <a:r>
              <a:rPr lang="en-US" sz="2400">
                <a:solidFill>
                  <a:schemeClr val="accent5">
                    <a:lumMod val="50000"/>
                    <a:lumOff val="50000"/>
                  </a:schemeClr>
                </a:solidFill>
              </a:rPr>
              <a:t>Use the command line to take input query as .</a:t>
            </a:r>
            <a:r>
              <a:rPr lang="en-US" sz="2400" err="1">
                <a:solidFill>
                  <a:schemeClr val="accent5">
                    <a:lumMod val="50000"/>
                    <a:lumOff val="50000"/>
                  </a:schemeClr>
                </a:solidFill>
              </a:rPr>
              <a:t>sql</a:t>
            </a:r>
            <a:r>
              <a:rPr lang="en-US" sz="2400">
                <a:solidFill>
                  <a:schemeClr val="accent5">
                    <a:lumMod val="50000"/>
                    <a:lumOff val="50000"/>
                  </a:schemeClr>
                </a:solidFill>
              </a:rPr>
              <a:t> and specify the output file</a:t>
            </a:r>
          </a:p>
          <a:p>
            <a:pPr marL="621716" lvl="2" indent="0" defTabSz="932742">
              <a:spcBef>
                <a:spcPts val="0"/>
              </a:spcBef>
              <a:buSzTx/>
              <a:buNone/>
            </a:pPr>
            <a:r>
              <a:rPr lang="en-US" sz="1800">
                <a:solidFill>
                  <a:srgbClr val="000000"/>
                </a:solidFill>
                <a:latin typeface="Consolas" panose="020B0609020204030204" pitchFamily="49" charset="0"/>
              </a:rPr>
              <a:t>[db2admin@host ~]$ db2 –</a:t>
            </a:r>
            <a:r>
              <a:rPr lang="en-US" sz="1800" err="1">
                <a:solidFill>
                  <a:srgbClr val="000000"/>
                </a:solidFill>
                <a:latin typeface="Consolas" panose="020B0609020204030204" pitchFamily="49" charset="0"/>
              </a:rPr>
              <a:t>txf</a:t>
            </a:r>
            <a:r>
              <a:rPr lang="en-US" sz="1800">
                <a:solidFill>
                  <a:srgbClr val="000000"/>
                </a:solidFill>
                <a:latin typeface="Consolas" panose="020B0609020204030204" pitchFamily="49" charset="0"/>
              </a:rPr>
              <a:t> </a:t>
            </a:r>
            <a:r>
              <a:rPr lang="en-US" sz="1800">
                <a:solidFill>
                  <a:schemeClr val="accent3"/>
                </a:solidFill>
                <a:latin typeface="Consolas" panose="020B0609020204030204" pitchFamily="49" charset="0"/>
              </a:rPr>
              <a:t>DB2_Pre_SSMA_v0.1.sql </a:t>
            </a:r>
            <a:r>
              <a:rPr lang="en-US" sz="1800">
                <a:solidFill>
                  <a:srgbClr val="000000"/>
                </a:solidFill>
                <a:latin typeface="Consolas" panose="020B0609020204030204" pitchFamily="49" charset="0"/>
              </a:rPr>
              <a:t>–z </a:t>
            </a:r>
            <a:r>
              <a:rPr lang="en-US" sz="1800">
                <a:solidFill>
                  <a:schemeClr val="accent4"/>
                </a:solidFill>
                <a:latin typeface="Consolas" panose="020B0609020204030204" pitchFamily="49" charset="0"/>
              </a:rPr>
              <a:t>DB2_PreSSMAOutput.csv</a:t>
            </a:r>
          </a:p>
          <a:p>
            <a:pPr marL="0" indent="0" defTabSz="1243431">
              <a:spcBef>
                <a:spcPts val="0"/>
              </a:spcBef>
              <a:buSzTx/>
              <a:buNone/>
              <a:defRPr/>
            </a:pPr>
            <a:endParaRPr lang="en-US" sz="4800">
              <a:solidFill>
                <a:schemeClr val="accent5">
                  <a:lumMod val="50000"/>
                  <a:lumOff val="50000"/>
                </a:schemeClr>
              </a:solidFill>
            </a:endParaRPr>
          </a:p>
        </p:txBody>
      </p:sp>
    </p:spTree>
    <p:extLst>
      <p:ext uri="{BB962C8B-B14F-4D97-AF65-F5344CB8AC3E}">
        <p14:creationId xmlns:p14="http://schemas.microsoft.com/office/powerpoint/2010/main" val="2469600208"/>
      </p:ext>
    </p:extLst>
  </p:cSld>
  <p:clrMapOvr>
    <a:masterClrMapping/>
  </p:clrMapOvr>
  <p:transition advTm="108500">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rkP94TlFkeTF8ffQuMW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eZMBdj9ekWAWaC2TjU29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EQMEHPZkiWU.DlRLvF6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MKzAjEM4UGxv5H0WjKQ7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PYTU7tC2UO0Es59XT7M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751gegxW0OVYIiU4KC7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iwFxifOyUiF90sZdK1MGA"/>
</p:tagLst>
</file>

<file path=ppt/theme/theme1.xml><?xml version="1.0" encoding="utf-8"?>
<a:theme xmlns:a="http://schemas.openxmlformats.org/drawingml/2006/main" name="MS Brand White 16-9_Dec-2013">
  <a:themeElements>
    <a:clrScheme name="Custom 12">
      <a:dk1>
        <a:srgbClr val="505050"/>
      </a:dk1>
      <a:lt1>
        <a:srgbClr val="FFFFFF"/>
      </a:lt1>
      <a:dk2>
        <a:srgbClr val="68217A"/>
      </a:dk2>
      <a:lt2>
        <a:srgbClr val="D2D2D2"/>
      </a:lt2>
      <a:accent1>
        <a:srgbClr val="68217A"/>
      </a:accent1>
      <a:accent2>
        <a:srgbClr val="008272"/>
      </a:accent2>
      <a:accent3>
        <a:srgbClr val="B4009E"/>
      </a:accent3>
      <a:accent4>
        <a:srgbClr val="0072C6"/>
      </a:accent4>
      <a:accent5>
        <a:srgbClr val="442359"/>
      </a:accent5>
      <a:accent6>
        <a:srgbClr val="002050"/>
      </a:accent6>
      <a:hlink>
        <a:srgbClr val="6821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xml><?xml version="1.0" encoding="utf-8"?>
<a:theme xmlns:a="http://schemas.openxmlformats.org/drawingml/2006/main" name="6-50029_S4_Q1_FY17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July2016_Advanced Analytics V3.potx" id="{BBF36C39-5D1E-43A3-BBE6-B1C5DD1D8E33}" vid="{A28021B4-C948-4A36-B75C-A25B94E31440}"/>
    </a:ext>
  </a:extLst>
</a:theme>
</file>

<file path=ppt/theme/theme3.xml><?xml version="1.0" encoding="utf-8"?>
<a:theme xmlns:a="http://schemas.openxmlformats.org/drawingml/2006/main" name="SDM PPT Template">
  <a:themeElements>
    <a:clrScheme name="MS Services - Light Template">
      <a:dk1>
        <a:srgbClr val="292929"/>
      </a:dk1>
      <a:lt1>
        <a:srgbClr val="FFFFFF"/>
      </a:lt1>
      <a:dk2>
        <a:srgbClr val="0070C0"/>
      </a:dk2>
      <a:lt2>
        <a:srgbClr val="DDDDDD"/>
      </a:lt2>
      <a:accent1>
        <a:srgbClr val="5191CD"/>
      </a:accent1>
      <a:accent2>
        <a:srgbClr val="595959"/>
      </a:accent2>
      <a:accent3>
        <a:srgbClr val="A4D7F4"/>
      </a:accent3>
      <a:accent4>
        <a:srgbClr val="7AA23A"/>
      </a:accent4>
      <a:accent5>
        <a:srgbClr val="FFC211"/>
      </a:accent5>
      <a:accent6>
        <a:srgbClr val="C94409"/>
      </a:accent6>
      <a:hlink>
        <a:srgbClr val="2B93E1"/>
      </a:hlink>
      <a:folHlink>
        <a:srgbClr val="2B93E1"/>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extLst>
    <a:ext uri="{05A4C25C-085E-4340-85A3-A5531E510DB2}">
      <thm15:themeFamily xmlns:thm15="http://schemas.microsoft.com/office/thememl/2012/main" name="MigrationAssessment2015_11" id="{E40E3033-5E83-4C68-BBEC-CEA015BDFA9B}" vid="{3E461B5E-F3B8-4499-8870-C3C0259039FE}"/>
    </a:ext>
  </a:extLst>
</a:theme>
</file>

<file path=ppt/theme/theme4.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5 Microsoft Safe Passage_template 040915" id="{189C29E7-D81E-4C3D-9F46-537C216AFEAF}" vid="{D45A4EDE-6412-47DE-AFE1-C1C7C2BB276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663038BF9716642BCA9BEDEEEE991E8" ma:contentTypeVersion="6" ma:contentTypeDescription="Create a new document." ma:contentTypeScope="" ma:versionID="037a4a868adf4a06b37c3eabca9a8e28">
  <xsd:schema xmlns:xsd="http://www.w3.org/2001/XMLSchema" xmlns:xs="http://www.w3.org/2001/XMLSchema" xmlns:p="http://schemas.microsoft.com/office/2006/metadata/properties" xmlns:ns2="4053a332-7d8e-488d-aba6-ad6dfa6b0f2d" xmlns:ns3="6e4f6676-91ee-47a5-8164-c59c33586ba7" targetNamespace="http://schemas.microsoft.com/office/2006/metadata/properties" ma:root="true" ma:fieldsID="2089f6b2e85e90b2e677d9898bf0ccee" ns2:_="" ns3:_="">
    <xsd:import namespace="4053a332-7d8e-488d-aba6-ad6dfa6b0f2d"/>
    <xsd:import namespace="6e4f6676-91ee-47a5-8164-c59c33586ba7"/>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53a332-7d8e-488d-aba6-ad6dfa6b0f2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e4f6676-91ee-47a5-8164-c59c33586ba7"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6e4f6676-91ee-47a5-8164-c59c33586ba7"/>
    <ds:schemaRef ds:uri="http://purl.org/dc/terms/"/>
    <ds:schemaRef ds:uri="4053a332-7d8e-488d-aba6-ad6dfa6b0f2d"/>
    <ds:schemaRef ds:uri="http://purl.org/dc/dcmitype/"/>
    <ds:schemaRef ds:uri="http://schemas.microsoft.com/office/infopath/2007/PartnerControls"/>
    <ds:schemaRef ds:uri="http://purl.org/dc/elements/1.1/"/>
    <ds:schemaRef ds:uri="http://schemas.microsoft.com/office/2006/documentManagement/type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68A478F4-E2A5-4015-876E-45EB90609A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053a332-7d8e-488d-aba6-ad6dfa6b0f2d"/>
    <ds:schemaRef ds:uri="6e4f6676-91ee-47a5-8164-c59c33586ba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621</Words>
  <Application>Microsoft Office PowerPoint</Application>
  <PresentationFormat>Custom</PresentationFormat>
  <Paragraphs>209</Paragraphs>
  <Slides>13</Slides>
  <Notes>0</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2</vt:i4>
      </vt:variant>
      <vt:variant>
        <vt:lpstr>Slide Titles</vt:lpstr>
      </vt:variant>
      <vt:variant>
        <vt:i4>13</vt:i4>
      </vt:variant>
    </vt:vector>
  </HeadingPairs>
  <TitlesOfParts>
    <vt:vector size="25" baseType="lpstr">
      <vt:lpstr>Arial</vt:lpstr>
      <vt:lpstr>Consolas</vt:lpstr>
      <vt:lpstr>Segoe UI</vt:lpstr>
      <vt:lpstr>Segoe UI Light</vt:lpstr>
      <vt:lpstr>Segoe UI Semilight</vt:lpstr>
      <vt:lpstr>Wingdings</vt:lpstr>
      <vt:lpstr>MS Brand White 16-9_Dec-2013</vt:lpstr>
      <vt:lpstr>6-50029_S4_Q1_FY17_Light_Template</vt:lpstr>
      <vt:lpstr>SDM PPT Template</vt:lpstr>
      <vt:lpstr>1_Server and Cloud 2013</vt:lpstr>
      <vt:lpstr>think-cell Slide</vt:lpstr>
      <vt:lpstr>Visio</vt:lpstr>
      <vt:lpstr>IBM DB2 Pre-SSMA Query Guidance</vt:lpstr>
      <vt:lpstr>PowerPoint Presentation</vt:lpstr>
      <vt:lpstr>PowerPoint Presentation</vt:lpstr>
      <vt:lpstr>PowerPoint Presentation</vt:lpstr>
      <vt:lpstr>Object Types</vt:lpstr>
      <vt:lpstr>The query</vt:lpstr>
      <vt:lpstr>More query (Partial code)</vt:lpstr>
      <vt:lpstr>Last part of query</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M DB2 Pre-SSMA Query Guidance</dc:title>
  <cp:lastModifiedBy>Derek Tellin (Neal Analytics LLC)</cp:lastModifiedBy>
  <cp:revision>1</cp:revision>
  <dcterms:modified xsi:type="dcterms:W3CDTF">2018-11-13T00:30: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63038BF9716642BCA9BEDEEEE991E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MSIP_Label_f42aa342-8706-4288-bd11-ebb85995028c_Enabled">
    <vt:lpwstr>True</vt:lpwstr>
  </property>
  <property fmtid="{D5CDD505-2E9C-101B-9397-08002B2CF9AE}" pid="11" name="MSIP_Label_f42aa342-8706-4288-bd11-ebb85995028c_SiteId">
    <vt:lpwstr>72f988bf-86f1-41af-91ab-2d7cd011db47</vt:lpwstr>
  </property>
  <property fmtid="{D5CDD505-2E9C-101B-9397-08002B2CF9AE}" pid="12" name="MSIP_Label_f42aa342-8706-4288-bd11-ebb85995028c_Owner">
    <vt:lpwstr>v-detell@microsoft.com</vt:lpwstr>
  </property>
  <property fmtid="{D5CDD505-2E9C-101B-9397-08002B2CF9AE}" pid="13" name="MSIP_Label_f42aa342-8706-4288-bd11-ebb85995028c_SetDate">
    <vt:lpwstr>2018-11-13T00:30:05.2094308Z</vt:lpwstr>
  </property>
  <property fmtid="{D5CDD505-2E9C-101B-9397-08002B2CF9AE}" pid="14" name="MSIP_Label_f42aa342-8706-4288-bd11-ebb85995028c_Name">
    <vt:lpwstr>General</vt:lpwstr>
  </property>
  <property fmtid="{D5CDD505-2E9C-101B-9397-08002B2CF9AE}" pid="15" name="MSIP_Label_f42aa342-8706-4288-bd11-ebb85995028c_Application">
    <vt:lpwstr>Microsoft Azure Information Protection</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ies>
</file>